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28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87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authors.xml" ContentType="application/vnd.ms-powerpoint.authors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</p:sldMasterIdLst>
  <p:notesMasterIdLst>
    <p:notesMasterId r:id="rId118"/>
  </p:notesMasterIdLst>
  <p:handoutMasterIdLst>
    <p:handoutMasterId r:id="rId119"/>
  </p:handoutMasterIdLst>
  <p:sldIdLst>
    <p:sldId id="389" r:id="rId3"/>
    <p:sldId id="3293" r:id="rId4"/>
    <p:sldId id="3294" r:id="rId5"/>
    <p:sldId id="390" r:id="rId6"/>
    <p:sldId id="398" r:id="rId7"/>
    <p:sldId id="391" r:id="rId8"/>
    <p:sldId id="3304" r:id="rId9"/>
    <p:sldId id="3306" r:id="rId10"/>
    <p:sldId id="3307" r:id="rId11"/>
    <p:sldId id="392" r:id="rId12"/>
    <p:sldId id="3309" r:id="rId13"/>
    <p:sldId id="3310" r:id="rId14"/>
    <p:sldId id="3311" r:id="rId15"/>
    <p:sldId id="394" r:id="rId16"/>
    <p:sldId id="395" r:id="rId17"/>
    <p:sldId id="399" r:id="rId18"/>
    <p:sldId id="3295" r:id="rId19"/>
    <p:sldId id="402" r:id="rId20"/>
    <p:sldId id="3315" r:id="rId21"/>
    <p:sldId id="3313" r:id="rId22"/>
    <p:sldId id="3314" r:id="rId23"/>
    <p:sldId id="3316" r:id="rId24"/>
    <p:sldId id="3312" r:id="rId25"/>
    <p:sldId id="403" r:id="rId26"/>
    <p:sldId id="3322" r:id="rId27"/>
    <p:sldId id="405" r:id="rId28"/>
    <p:sldId id="406" r:id="rId29"/>
    <p:sldId id="3319" r:id="rId30"/>
    <p:sldId id="3320" r:id="rId31"/>
    <p:sldId id="3321" r:id="rId32"/>
    <p:sldId id="3296" r:id="rId33"/>
    <p:sldId id="409" r:id="rId34"/>
    <p:sldId id="407" r:id="rId35"/>
    <p:sldId id="408" r:id="rId36"/>
    <p:sldId id="410" r:id="rId37"/>
    <p:sldId id="412" r:id="rId38"/>
    <p:sldId id="413" r:id="rId39"/>
    <p:sldId id="414" r:id="rId40"/>
    <p:sldId id="415" r:id="rId41"/>
    <p:sldId id="416" r:id="rId42"/>
    <p:sldId id="417" r:id="rId43"/>
    <p:sldId id="420" r:id="rId44"/>
    <p:sldId id="3318" r:id="rId45"/>
    <p:sldId id="3317" r:id="rId46"/>
    <p:sldId id="422" r:id="rId47"/>
    <p:sldId id="421" r:id="rId48"/>
    <p:sldId id="423" r:id="rId49"/>
    <p:sldId id="3297" r:id="rId50"/>
    <p:sldId id="418" r:id="rId51"/>
    <p:sldId id="419" r:id="rId52"/>
    <p:sldId id="425" r:id="rId53"/>
    <p:sldId id="426" r:id="rId54"/>
    <p:sldId id="429" r:id="rId55"/>
    <p:sldId id="428" r:id="rId56"/>
    <p:sldId id="430" r:id="rId57"/>
    <p:sldId id="427" r:id="rId58"/>
    <p:sldId id="431" r:id="rId59"/>
    <p:sldId id="448" r:id="rId60"/>
    <p:sldId id="449" r:id="rId61"/>
    <p:sldId id="450" r:id="rId62"/>
    <p:sldId id="3298" r:id="rId63"/>
    <p:sldId id="434" r:id="rId64"/>
    <p:sldId id="433" r:id="rId65"/>
    <p:sldId id="435" r:id="rId66"/>
    <p:sldId id="432" r:id="rId67"/>
    <p:sldId id="436" r:id="rId68"/>
    <p:sldId id="437" r:id="rId69"/>
    <p:sldId id="486" r:id="rId70"/>
    <p:sldId id="438" r:id="rId71"/>
    <p:sldId id="3323" r:id="rId72"/>
    <p:sldId id="441" r:id="rId73"/>
    <p:sldId id="442" r:id="rId74"/>
    <p:sldId id="444" r:id="rId75"/>
    <p:sldId id="445" r:id="rId76"/>
    <p:sldId id="446" r:id="rId77"/>
    <p:sldId id="3299" r:id="rId78"/>
    <p:sldId id="451" r:id="rId79"/>
    <p:sldId id="452" r:id="rId80"/>
    <p:sldId id="3324" r:id="rId81"/>
    <p:sldId id="454" r:id="rId82"/>
    <p:sldId id="455" r:id="rId83"/>
    <p:sldId id="456" r:id="rId84"/>
    <p:sldId id="457" r:id="rId85"/>
    <p:sldId id="458" r:id="rId86"/>
    <p:sldId id="459" r:id="rId87"/>
    <p:sldId id="460" r:id="rId88"/>
    <p:sldId id="461" r:id="rId89"/>
    <p:sldId id="462" r:id="rId90"/>
    <p:sldId id="463" r:id="rId91"/>
    <p:sldId id="465" r:id="rId92"/>
    <p:sldId id="466" r:id="rId93"/>
    <p:sldId id="467" r:id="rId94"/>
    <p:sldId id="468" r:id="rId95"/>
    <p:sldId id="469" r:id="rId96"/>
    <p:sldId id="470" r:id="rId97"/>
    <p:sldId id="471" r:id="rId98"/>
    <p:sldId id="472" r:id="rId99"/>
    <p:sldId id="473" r:id="rId100"/>
    <p:sldId id="474" r:id="rId101"/>
    <p:sldId id="475" r:id="rId102"/>
    <p:sldId id="476" r:id="rId103"/>
    <p:sldId id="477" r:id="rId104"/>
    <p:sldId id="478" r:id="rId105"/>
    <p:sldId id="479" r:id="rId106"/>
    <p:sldId id="480" r:id="rId107"/>
    <p:sldId id="481" r:id="rId108"/>
    <p:sldId id="482" r:id="rId109"/>
    <p:sldId id="483" r:id="rId110"/>
    <p:sldId id="484" r:id="rId111"/>
    <p:sldId id="485" r:id="rId112"/>
    <p:sldId id="487" r:id="rId113"/>
    <p:sldId id="488" r:id="rId114"/>
    <p:sldId id="401" r:id="rId115"/>
    <p:sldId id="489" r:id="rId116"/>
    <p:sldId id="3300" r:id="rId117"/>
  </p:sldIdLst>
  <p:sldSz cx="12192000" cy="6858000"/>
  <p:notesSz cx="6858000" cy="9144000"/>
  <p:defaultTextStyle>
    <a:defPPr>
      <a:defRPr lang="en-US"/>
    </a:defPPr>
    <a:lvl1pPr marL="0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786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573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6358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5146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931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2718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1504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90291" algn="l" defTabSz="1097573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預設章節" id="{64DF26FF-96FB-41C2-860F-3BDF43DF708F}">
          <p14:sldIdLst>
            <p14:sldId id="389"/>
            <p14:sldId id="3293"/>
          </p14:sldIdLst>
        </p14:section>
        <p14:section name="CDS view introduction" id="{A243D4F9-74DF-4E87-B0AD-E56AF242A5C7}">
          <p14:sldIdLst>
            <p14:sldId id="3294"/>
            <p14:sldId id="390"/>
            <p14:sldId id="398"/>
            <p14:sldId id="391"/>
            <p14:sldId id="3304"/>
            <p14:sldId id="3306"/>
            <p14:sldId id="3307"/>
            <p14:sldId id="392"/>
            <p14:sldId id="3309"/>
            <p14:sldId id="3310"/>
            <p14:sldId id="3311"/>
            <p14:sldId id="394"/>
            <p14:sldId id="395"/>
            <p14:sldId id="399"/>
          </p14:sldIdLst>
        </p14:section>
        <p14:section name="Create CDS View" id="{631CA42E-A812-4C03-A392-BAF5F7B7827C}">
          <p14:sldIdLst>
            <p14:sldId id="3295"/>
            <p14:sldId id="402"/>
            <p14:sldId id="3315"/>
            <p14:sldId id="3313"/>
            <p14:sldId id="3314"/>
            <p14:sldId id="3316"/>
            <p14:sldId id="3312"/>
            <p14:sldId id="403"/>
            <p14:sldId id="3322"/>
            <p14:sldId id="405"/>
            <p14:sldId id="406"/>
            <p14:sldId id="3319"/>
            <p14:sldId id="3320"/>
            <p14:sldId id="3321"/>
          </p14:sldIdLst>
        </p14:section>
        <p14:section name="Cardinality" id="{269B96DC-9868-49CF-9DD0-8340A76486F8}">
          <p14:sldIdLst>
            <p14:sldId id="3296"/>
            <p14:sldId id="409"/>
            <p14:sldId id="407"/>
            <p14:sldId id="408"/>
            <p14:sldId id="410"/>
            <p14:sldId id="412"/>
            <p14:sldId id="413"/>
            <p14:sldId id="414"/>
            <p14:sldId id="415"/>
            <p14:sldId id="416"/>
            <p14:sldId id="417"/>
            <p14:sldId id="420"/>
            <p14:sldId id="3318"/>
            <p14:sldId id="3317"/>
            <p14:sldId id="422"/>
            <p14:sldId id="421"/>
            <p14:sldId id="423"/>
          </p14:sldIdLst>
        </p14:section>
        <p14:section name="Table function" id="{26FDF4A0-B8F0-4260-AA7D-F36535F955EC}">
          <p14:sldIdLst>
            <p14:sldId id="3297"/>
            <p14:sldId id="418"/>
            <p14:sldId id="419"/>
            <p14:sldId id="425"/>
            <p14:sldId id="426"/>
            <p14:sldId id="429"/>
            <p14:sldId id="428"/>
            <p14:sldId id="430"/>
            <p14:sldId id="427"/>
            <p14:sldId id="431"/>
            <p14:sldId id="448"/>
            <p14:sldId id="449"/>
            <p14:sldId id="450"/>
          </p14:sldIdLst>
        </p14:section>
        <p14:section name="VDM type and data category" id="{AFD781C0-8038-4790-894A-A8E5706AC7FF}">
          <p14:sldIdLst>
            <p14:sldId id="3298"/>
            <p14:sldId id="434"/>
            <p14:sldId id="433"/>
            <p14:sldId id="435"/>
            <p14:sldId id="432"/>
            <p14:sldId id="436"/>
            <p14:sldId id="437"/>
            <p14:sldId id="486"/>
            <p14:sldId id="438"/>
            <p14:sldId id="3323"/>
            <p14:sldId id="441"/>
            <p14:sldId id="442"/>
            <p14:sldId id="444"/>
            <p14:sldId id="445"/>
            <p14:sldId id="446"/>
          </p14:sldIdLst>
        </p14:section>
        <p14:section name="Annotation" id="{1A1A9771-C60D-45A1-BC58-31D4E13E9E30}">
          <p14:sldIdLst>
            <p14:sldId id="3299"/>
            <p14:sldId id="451"/>
            <p14:sldId id="452"/>
            <p14:sldId id="3324"/>
            <p14:sldId id="454"/>
            <p14:sldId id="455"/>
            <p14:sldId id="456"/>
            <p14:sldId id="457"/>
            <p14:sldId id="458"/>
            <p14:sldId id="459"/>
            <p14:sldId id="460"/>
            <p14:sldId id="461"/>
            <p14:sldId id="462"/>
            <p14:sldId id="463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  <p14:sldId id="473"/>
            <p14:sldId id="474"/>
            <p14:sldId id="475"/>
            <p14:sldId id="476"/>
            <p14:sldId id="477"/>
            <p14:sldId id="478"/>
            <p14:sldId id="479"/>
            <p14:sldId id="480"/>
            <p14:sldId id="481"/>
            <p14:sldId id="482"/>
            <p14:sldId id="483"/>
            <p14:sldId id="484"/>
            <p14:sldId id="485"/>
            <p14:sldId id="487"/>
            <p14:sldId id="488"/>
            <p14:sldId id="401"/>
            <p14:sldId id="489"/>
            <p14:sldId id="330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6CF213-E717-58E8-A8DD-6B4D6BFAA1FC}" name="patrick wu" initials="pw" userId="6f9ec3a07cbc357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CC"/>
    <a:srgbClr val="FDF7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354" autoAdjust="0"/>
    <p:restoredTop sz="69465" autoAdjust="0"/>
  </p:normalViewPr>
  <p:slideViewPr>
    <p:cSldViewPr snapToGrid="0">
      <p:cViewPr varScale="1">
        <p:scale>
          <a:sx n="51" d="100"/>
          <a:sy n="51" d="100"/>
        </p:scale>
        <p:origin x="93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6" d="100"/>
          <a:sy n="56" d="100"/>
        </p:scale>
        <p:origin x="173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6" Type="http://schemas.openxmlformats.org/officeDocument/2006/relationships/slide" Target="slides/slide14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tableStyles" Target="tableStyles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18" Type="http://schemas.openxmlformats.org/officeDocument/2006/relationships/notesMaster" Target="notesMasters/notesMaster1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24" Type="http://schemas.microsoft.com/office/2018/10/relationships/authors" Target="authors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49" Type="http://schemas.openxmlformats.org/officeDocument/2006/relationships/slide" Target="slides/slide47.xml"/><Relationship Id="rId114" Type="http://schemas.openxmlformats.org/officeDocument/2006/relationships/slide" Target="slides/slide112.xml"/><Relationship Id="rId119" Type="http://schemas.openxmlformats.org/officeDocument/2006/relationships/handoutMaster" Target="handoutMasters/handoutMaster1.xml"/><Relationship Id="rId44" Type="http://schemas.openxmlformats.org/officeDocument/2006/relationships/slide" Target="slides/slide42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presProps" Target="presProps.xml"/><Relationship Id="rId125" Type="http://schemas.openxmlformats.org/officeDocument/2006/relationships/customXml" Target="../customXml/item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customXml" Target="../customXml/item2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viewProps" Target="viewProps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116" Type="http://schemas.openxmlformats.org/officeDocument/2006/relationships/slide" Target="slides/slide11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slide" Target="slides/slide109.xml"/><Relationship Id="rId15" Type="http://schemas.openxmlformats.org/officeDocument/2006/relationships/slide" Target="slides/slide13.xml"/><Relationship Id="rId36" Type="http://schemas.openxmlformats.org/officeDocument/2006/relationships/slide" Target="slides/slide34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27" Type="http://schemas.openxmlformats.org/officeDocument/2006/relationships/customXml" Target="../customXml/item3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52" Type="http://schemas.openxmlformats.org/officeDocument/2006/relationships/slide" Target="slides/slide50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>
            <a:extLst>
              <a:ext uri="{FF2B5EF4-FFF2-40B4-BE49-F238E27FC236}">
                <a16:creationId xmlns:a16="http://schemas.microsoft.com/office/drawing/2014/main" id="{FEEE0731-38B4-8941-B4EF-B7958802D8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>
            <a:extLst>
              <a:ext uri="{FF2B5EF4-FFF2-40B4-BE49-F238E27FC236}">
                <a16:creationId xmlns:a16="http://schemas.microsoft.com/office/drawing/2014/main" id="{E214327F-BB06-42AE-8BAE-1512614A483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D2909C-83AF-4096-A86F-9A66D2474322}" type="datetimeFigureOut">
              <a:rPr lang="zh-TW" altLang="en-US" smtClean="0"/>
              <a:t>2024/10/13</a:t>
            </a:fld>
            <a:endParaRPr lang="zh-TW" altLang="en-US"/>
          </a:p>
        </p:txBody>
      </p:sp>
      <p:sp>
        <p:nvSpPr>
          <p:cNvPr id="4" name="頁尾版面配置區 3">
            <a:extLst>
              <a:ext uri="{FF2B5EF4-FFF2-40B4-BE49-F238E27FC236}">
                <a16:creationId xmlns:a16="http://schemas.microsoft.com/office/drawing/2014/main" id="{1AFEFACD-375E-D326-AF54-00842C4885F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E558EB95-0822-3CBF-7981-7B75A8D7F1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615520-DF32-4C17-A43B-C5A336276D06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791711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7896E6-ABC2-49E6-93C8-F461D89BA3A3}" type="datetimeFigureOut">
              <a:rPr lang="zh-TW" altLang="en-US" smtClean="0"/>
              <a:t>2024/10/13</a:t>
            </a:fld>
            <a:endParaRPr lang="zh-TW" altLang="en-US"/>
          </a:p>
        </p:txBody>
      </p:sp>
      <p:sp>
        <p:nvSpPr>
          <p:cNvPr id="4" name="投影片影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45AACB-8574-4FFB-8E79-E574F0E328D1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03646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 </a:t>
            </a:r>
            <a:r>
              <a:rPr lang="zh-TW" altLang="en-US" dirty="0"/>
              <a:t>簡介</a:t>
            </a:r>
            <a:endParaRPr lang="en-US" altLang="zh-TW" dirty="0"/>
          </a:p>
          <a:p>
            <a:r>
              <a:rPr lang="zh-TW" altLang="en-US" dirty="0"/>
              <a:t>建立 </a:t>
            </a:r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</a:t>
            </a:r>
          </a:p>
          <a:p>
            <a:r>
              <a:rPr lang="zh-TW" altLang="en-US" dirty="0"/>
              <a:t>基數</a:t>
            </a:r>
            <a:endParaRPr lang="en-US" altLang="zh-TW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542450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5059084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25645235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56712540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73856816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63574258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17170909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5467317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30133762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70867609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1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02292389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1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409947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21601669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1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114634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824453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347709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610367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 </a:t>
            </a:r>
            <a:r>
              <a:rPr lang="zh-TW" altLang="en-US" dirty="0"/>
              <a:t>簡介</a:t>
            </a:r>
            <a:endParaRPr lang="en-US" altLang="zh-TW" dirty="0"/>
          </a:p>
          <a:p>
            <a:r>
              <a:rPr lang="zh-TW" altLang="en-US" dirty="0"/>
              <a:t>建立 </a:t>
            </a:r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</a:t>
            </a:r>
          </a:p>
          <a:p>
            <a:r>
              <a:rPr lang="zh-TW" altLang="en-US" dirty="0"/>
              <a:t>基數</a:t>
            </a:r>
            <a:endParaRPr lang="en-US" altLang="zh-TW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855356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131535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191899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468366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032855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 </a:t>
            </a:r>
            <a:r>
              <a:rPr lang="zh-TW" altLang="en-US" dirty="0"/>
              <a:t>簡介</a:t>
            </a:r>
            <a:endParaRPr lang="en-US" altLang="zh-TW" dirty="0"/>
          </a:p>
          <a:p>
            <a:r>
              <a:rPr lang="zh-TW" altLang="en-US" dirty="0"/>
              <a:t>建立 </a:t>
            </a:r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</a:t>
            </a:r>
          </a:p>
          <a:p>
            <a:r>
              <a:rPr lang="zh-TW" altLang="en-US" dirty="0"/>
              <a:t>基數</a:t>
            </a:r>
            <a:endParaRPr lang="en-US" altLang="zh-TW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193545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875573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altLang="zh-TW" dirty="0"/>
              <a:t>}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079374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776396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44323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715926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248573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3427027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2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2668848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24325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 </a:t>
            </a:r>
            <a:r>
              <a:rPr lang="zh-TW" altLang="en-US" dirty="0"/>
              <a:t>簡介</a:t>
            </a:r>
            <a:endParaRPr lang="en-US" altLang="zh-TW" dirty="0"/>
          </a:p>
          <a:p>
            <a:r>
              <a:rPr lang="zh-TW" altLang="en-US" dirty="0"/>
              <a:t>建立 </a:t>
            </a:r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</a:t>
            </a:r>
          </a:p>
          <a:p>
            <a:r>
              <a:rPr lang="zh-TW" altLang="en-US" dirty="0"/>
              <a:t>基數</a:t>
            </a:r>
            <a:endParaRPr lang="en-US" altLang="zh-TW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75063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3454644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  <a:p>
            <a:pPr marL="0" indent="0">
              <a:buFont typeface="Arial" panose="020B0604020202020204" pitchFamily="34" charset="0"/>
              <a:buNone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38479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9968341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TW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650103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3544478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6042059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6561651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6196682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3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689214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639027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972551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2027286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8156731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2860927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4519068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5023646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0559061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7835482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 </a:t>
            </a:r>
            <a:r>
              <a:rPr lang="zh-TW" altLang="en-US" dirty="0"/>
              <a:t>簡介</a:t>
            </a:r>
            <a:endParaRPr lang="en-US" altLang="zh-TW" dirty="0"/>
          </a:p>
          <a:p>
            <a:r>
              <a:rPr lang="zh-TW" altLang="en-US" dirty="0"/>
              <a:t>建立 </a:t>
            </a:r>
            <a:r>
              <a:rPr lang="en-US" altLang="zh-TW" dirty="0"/>
              <a:t>CDS</a:t>
            </a:r>
            <a:r>
              <a:rPr lang="zh-TW" altLang="en-US" dirty="0"/>
              <a:t> </a:t>
            </a:r>
            <a:r>
              <a:rPr lang="en-US" altLang="zh-TW" dirty="0"/>
              <a:t>View</a:t>
            </a:r>
          </a:p>
          <a:p>
            <a:r>
              <a:rPr lang="zh-TW" altLang="en-US" dirty="0"/>
              <a:t>基數</a:t>
            </a:r>
            <a:endParaRPr lang="en-US" altLang="zh-TW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6817502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4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933204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1908148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75207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4396592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4287403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7311490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8474843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5276640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8234322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5734506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6076942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5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4839336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5637666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772079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8859550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7374526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94535749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64256221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134313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7522610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3320269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altLang="zh-TW" b="0" dirty="0"/>
              <a:t>	</a:t>
            </a: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26990521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6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0533807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5737285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208492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6404049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5384122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5727912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69716633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52380399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96555712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96432633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83735253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7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88240696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09265868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95233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20023819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54971765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5367003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31986211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82549220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86573144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27731626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24548764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8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8122674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92179971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zh-TW" altLang="en-US" b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260573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72559194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07436628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31754121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36966309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35326889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2434114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61266988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71218501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9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28274591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45833284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TW" b="0" dirty="0">
              <a:solidFill>
                <a:srgbClr val="FF0000"/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5AACB-8574-4FFB-8E79-E574F0E328D1}" type="slidenum">
              <a:rPr lang="zh-TW" altLang="en-US" smtClean="0"/>
              <a:t>10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40854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BV divider_text">
    <p:bg>
      <p:bgPr>
        <a:solidFill>
          <a:srgbClr val="E5F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381000"/>
            <a:ext cx="8782793" cy="2857500"/>
          </a:xfrm>
        </p:spPr>
        <p:txBody>
          <a:bodyPr>
            <a:noAutofit/>
          </a:bodyPr>
          <a:lstStyle>
            <a:lvl1pPr>
              <a:defRPr sz="7333" b="0" i="0">
                <a:solidFill>
                  <a:schemeClr val="accent2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6949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. Boxes_Custom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94CB5A1E-3152-2744-BC09-F649CBF270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52638" y="1943100"/>
            <a:ext cx="2762665" cy="4381500"/>
          </a:xfrm>
          <a:solidFill>
            <a:srgbClr val="E5F6FF"/>
          </a:solidFill>
        </p:spPr>
        <p:txBody>
          <a:bodyPr lIns="228600" tIns="228600" rIns="228600" bIns="457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67"/>
              </a:spcAft>
              <a:buNone/>
              <a:defRPr sz="1333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493503BC-B175-AD47-B1B2-594008FE13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87153" y="1943100"/>
            <a:ext cx="2762665" cy="4381500"/>
          </a:xfrm>
          <a:solidFill>
            <a:srgbClr val="E5F6FF"/>
          </a:solidFill>
        </p:spPr>
        <p:txBody>
          <a:bodyPr lIns="228600" tIns="228600" rIns="228600" bIns="457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67"/>
              </a:spcAft>
              <a:buNone/>
              <a:defRPr sz="1333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B30451BF-11F1-F44A-8C53-766013B812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21668" y="1943100"/>
            <a:ext cx="2803103" cy="4381500"/>
          </a:xfrm>
          <a:solidFill>
            <a:srgbClr val="E5F6FF"/>
          </a:solidFill>
        </p:spPr>
        <p:txBody>
          <a:bodyPr lIns="228600" tIns="228600" rIns="228600" bIns="457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67"/>
              </a:spcAft>
              <a:buNone/>
              <a:defRPr sz="1333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02E39B-F170-124F-A7C8-8D99BC786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714500"/>
            <a:ext cx="2590271" cy="876300"/>
          </a:xfrm>
        </p:spPr>
        <p:txBody>
          <a:bodyPr lIns="0" tIns="0" rIns="0" bIns="0" anchor="t" anchorCtr="0"/>
          <a:lstStyle>
            <a:lvl1pPr>
              <a:defRPr sz="2667">
                <a:solidFill>
                  <a:srgbClr val="00114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8D7A0D1-D29A-F243-B3F6-FE400764F2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81000" y="2782095"/>
            <a:ext cx="2590271" cy="3542506"/>
          </a:xfrm>
        </p:spPr>
        <p:txBody>
          <a:bodyPr lIns="0" tIns="0" rIns="0" bIns="0"/>
          <a:lstStyle>
            <a:lvl1pPr marL="0" indent="0">
              <a:buNone/>
              <a:defRPr sz="1333">
                <a:solidFill>
                  <a:srgbClr val="001141"/>
                </a:solidFill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29D6101-F256-134C-8B8D-244D26E698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0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5704910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. Cyan10 Whit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B162276-12DB-6A41-84AA-0E88DCCF1A59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5604B5E-7962-8949-B03E-AE56A040F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5770"/>
            <a:ext cx="4038865" cy="876300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Aft>
                <a:spcPts val="2833"/>
              </a:spcAft>
              <a:defRPr sz="2333" b="0" i="0">
                <a:solidFill>
                  <a:srgbClr val="0F62FE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2C71E96-A6C1-694E-900F-969C83B7A4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1" y="1943365"/>
            <a:ext cx="4038864" cy="423333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667"/>
              </a:spcAft>
              <a:defRPr sz="1333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Aft>
                <a:spcPts val="1667"/>
              </a:spcAft>
              <a:defRPr sz="1333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Aft>
                <a:spcPts val="1667"/>
              </a:spcAft>
              <a:defRPr sz="1333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Aft>
                <a:spcPts val="1667"/>
              </a:spcAft>
              <a:defRPr sz="1333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Aft>
                <a:spcPts val="1667"/>
              </a:spcAft>
              <a:defRPr sz="1333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0F02BA3-76A6-E948-AA95-7E40D4A318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6501" y="875771"/>
            <a:ext cx="2553229" cy="53009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C485265-FFB1-0845-A9C3-1B1E0B3CB1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833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29FF58B0-13AE-1840-99FF-491D958BC2C4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233648" y="875771"/>
            <a:ext cx="2577353" cy="5300928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A6B7A0A-EE67-1F42-9C1E-44E43892FDAF}"/>
              </a:ext>
            </a:extLst>
          </p:cNvPr>
          <p:cNvGrpSpPr/>
          <p:nvPr/>
        </p:nvGrpSpPr>
        <p:grpSpPr>
          <a:xfrm>
            <a:off x="661512" y="6609394"/>
            <a:ext cx="2489725" cy="183809"/>
            <a:chOff x="914400" y="7899655"/>
            <a:chExt cx="2987670" cy="220571"/>
          </a:xfrm>
        </p:grpSpPr>
        <p:sp>
          <p:nvSpPr>
            <p:cNvPr id="17" name="Footer Placeholder 3">
              <a:extLst>
                <a:ext uri="{FF2B5EF4-FFF2-40B4-BE49-F238E27FC236}">
                  <a16:creationId xmlns:a16="http://schemas.microsoft.com/office/drawing/2014/main" id="{A894A19A-3BF6-F14B-9305-8A31E427279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2 IBM Corporation</a:t>
              </a:r>
              <a:r>
                <a:rPr lang="en-US" sz="666" b="0" i="0" baseline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8" name="Date Placeholder 2">
              <a:extLst>
                <a:ext uri="{FF2B5EF4-FFF2-40B4-BE49-F238E27FC236}">
                  <a16:creationId xmlns:a16="http://schemas.microsoft.com/office/drawing/2014/main" id="{1B1675EF-4FDA-C64A-9DB3-3784E49FB0B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000"/>
                </a:spcAft>
                <a:tabLst/>
                <a:defRPr/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D99BA225-34C3-E745-9AF5-347D2A5C7942}"/>
              </a:ext>
            </a:extLst>
          </p:cNvPr>
          <p:cNvSpPr txBox="1">
            <a:spLocks/>
          </p:cNvSpPr>
          <p:nvPr/>
        </p:nvSpPr>
        <p:spPr>
          <a:xfrm>
            <a:off x="379048" y="6611958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rgbClr val="00114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rgbClr val="00114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07396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. 1/4 Cyan10 White-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E7A91E8-27A9-964C-8402-CAA5D6AE9A76}"/>
              </a:ext>
            </a:extLst>
          </p:cNvPr>
          <p:cNvSpPr/>
          <p:nvPr/>
        </p:nvSpPr>
        <p:spPr>
          <a:xfrm>
            <a:off x="-2" y="0"/>
            <a:ext cx="3048002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7A7C1D1-E1CB-1742-A3BF-94023278D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89000"/>
            <a:ext cx="2476500" cy="876300"/>
          </a:xfrm>
        </p:spPr>
        <p:txBody>
          <a:bodyPr lIns="0" tIns="0" rIns="0" bIns="0" anchor="t" anchorCtr="0">
            <a:noAutofit/>
          </a:bodyPr>
          <a:lstStyle>
            <a:lvl1pPr>
              <a:defRPr sz="2667">
                <a:solidFill>
                  <a:srgbClr val="00114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4D69191-E751-6A44-8799-858D837B74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81001" y="2895864"/>
            <a:ext cx="2476500" cy="2971800"/>
          </a:xfrm>
        </p:spPr>
        <p:txBody>
          <a:bodyPr lIns="0" tIns="0" rIns="0" bIns="0"/>
          <a:lstStyle>
            <a:lvl1pPr marL="0" indent="0">
              <a:buNone/>
              <a:defRPr sz="1667">
                <a:solidFill>
                  <a:srgbClr val="001141"/>
                </a:solidFill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3BC186D-71D1-CB40-8C66-6710445C91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0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E5112BF-C8FA-4B43-A207-692D4CB81E27}"/>
              </a:ext>
            </a:extLst>
          </p:cNvPr>
          <p:cNvGrpSpPr/>
          <p:nvPr/>
        </p:nvGrpSpPr>
        <p:grpSpPr>
          <a:xfrm>
            <a:off x="661512" y="6609394"/>
            <a:ext cx="2489725" cy="183809"/>
            <a:chOff x="914400" y="7899655"/>
            <a:chExt cx="2987670" cy="220571"/>
          </a:xfrm>
        </p:grpSpPr>
        <p:sp>
          <p:nvSpPr>
            <p:cNvPr id="12" name="Footer Placeholder 3">
              <a:extLst>
                <a:ext uri="{FF2B5EF4-FFF2-40B4-BE49-F238E27FC236}">
                  <a16:creationId xmlns:a16="http://schemas.microsoft.com/office/drawing/2014/main" id="{283969B1-8803-CF48-9853-D0EA7AF2E00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2 IBM Corporation</a:t>
              </a:r>
              <a:r>
                <a:rPr lang="en-US" sz="666" b="0" i="0" baseline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3" name="Date Placeholder 2">
              <a:extLst>
                <a:ext uri="{FF2B5EF4-FFF2-40B4-BE49-F238E27FC236}">
                  <a16:creationId xmlns:a16="http://schemas.microsoft.com/office/drawing/2014/main" id="{8075FE19-A29E-5547-8B90-81043D31116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000"/>
                </a:spcAft>
                <a:tabLst/>
                <a:defRPr/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97BCA7-C177-124C-A104-55300A7FA178}"/>
              </a:ext>
            </a:extLst>
          </p:cNvPr>
          <p:cNvCxnSpPr>
            <a:cxnSpLocks/>
          </p:cNvCxnSpPr>
          <p:nvPr/>
        </p:nvCxnSpPr>
        <p:spPr>
          <a:xfrm flipV="1">
            <a:off x="9144000" y="381000"/>
            <a:ext cx="0" cy="5969000"/>
          </a:xfrm>
          <a:prstGeom prst="line">
            <a:avLst/>
          </a:prstGeom>
          <a:ln w="3175">
            <a:solidFill>
              <a:srgbClr val="0011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2BB577B-B07D-D447-A615-CA819C93FEE4}"/>
              </a:ext>
            </a:extLst>
          </p:cNvPr>
          <p:cNvCxnSpPr>
            <a:cxnSpLocks/>
          </p:cNvCxnSpPr>
          <p:nvPr/>
        </p:nvCxnSpPr>
        <p:spPr>
          <a:xfrm flipH="1" flipV="1">
            <a:off x="6094288" y="381000"/>
            <a:ext cx="1712" cy="5969000"/>
          </a:xfrm>
          <a:prstGeom prst="line">
            <a:avLst/>
          </a:prstGeom>
          <a:ln w="3175">
            <a:solidFill>
              <a:srgbClr val="0011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8F43FDED-FE10-9C43-A0D7-2284FADF40AB}"/>
              </a:ext>
            </a:extLst>
          </p:cNvPr>
          <p:cNvSpPr txBox="1">
            <a:spLocks/>
          </p:cNvSpPr>
          <p:nvPr/>
        </p:nvSpPr>
        <p:spPr>
          <a:xfrm>
            <a:off x="379048" y="6611958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rgbClr val="00114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rgbClr val="00114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960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  <p15:guide id="2" orient="horz" pos="67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. White Cyan10-Virtual Enterpr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EF3EE77-B6D1-A441-9C74-1534E60D3F95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305903F-B946-C446-949D-808CA6C1B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5771"/>
            <a:ext cx="4038865" cy="144859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spcAft>
                <a:spcPts val="2833"/>
              </a:spcAft>
              <a:defRPr sz="2667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F4C8C4A-EA17-DA4A-A36E-F0019EA6DB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0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ED18D6-7EC1-9242-AC49-B4AB1223F01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1" y="6575790"/>
            <a:ext cx="384369" cy="15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6274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. 1/4 Cyan10 White-Graphics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DD67FC7-5B3C-7F4C-A29A-DF50BDB41938}"/>
              </a:ext>
            </a:extLst>
          </p:cNvPr>
          <p:cNvSpPr/>
          <p:nvPr/>
        </p:nvSpPr>
        <p:spPr>
          <a:xfrm>
            <a:off x="-2" y="0"/>
            <a:ext cx="3048002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FB3118F-1B1E-C54D-AE9A-85F494EA6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5771"/>
            <a:ext cx="2476500" cy="877094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ts val="3200"/>
              </a:lnSpc>
              <a:defRPr sz="2667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C4869AD-61F3-0C4D-91B0-029A82DB56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81001" y="2216125"/>
            <a:ext cx="2476500" cy="39243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333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A96B174-5B45-0C4D-BF14-1B79BDE0F2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0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406B28D-99BD-574C-8607-7D9ECD361393}"/>
              </a:ext>
            </a:extLst>
          </p:cNvPr>
          <p:cNvGrpSpPr/>
          <p:nvPr/>
        </p:nvGrpSpPr>
        <p:grpSpPr>
          <a:xfrm>
            <a:off x="661512" y="6609394"/>
            <a:ext cx="2489725" cy="183809"/>
            <a:chOff x="914400" y="7899655"/>
            <a:chExt cx="2987670" cy="220571"/>
          </a:xfrm>
        </p:grpSpPr>
        <p:sp>
          <p:nvSpPr>
            <p:cNvPr id="13" name="Footer Placeholder 3">
              <a:extLst>
                <a:ext uri="{FF2B5EF4-FFF2-40B4-BE49-F238E27FC236}">
                  <a16:creationId xmlns:a16="http://schemas.microsoft.com/office/drawing/2014/main" id="{468DEA15-10E9-DB4F-9727-373014D03E0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2 IBM Corporation</a:t>
              </a:r>
              <a:r>
                <a:rPr lang="en-US" sz="666" b="0" i="0" baseline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>
              <a:extLst>
                <a:ext uri="{FF2B5EF4-FFF2-40B4-BE49-F238E27FC236}">
                  <a16:creationId xmlns:a16="http://schemas.microsoft.com/office/drawing/2014/main" id="{D5853400-4A52-EF44-B864-02B0EEC4068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000"/>
                </a:spcAft>
                <a:tabLst/>
                <a:defRPr/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CC6921EB-A25C-9B43-AC27-8CE79A23A9BF}"/>
              </a:ext>
            </a:extLst>
          </p:cNvPr>
          <p:cNvSpPr txBox="1">
            <a:spLocks/>
          </p:cNvSpPr>
          <p:nvPr/>
        </p:nvSpPr>
        <p:spPr>
          <a:xfrm>
            <a:off x="379048" y="6611958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rgbClr val="00114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rgbClr val="00114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43512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. 3/4 White Cyan10-Graphics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1D3F64-DE84-A845-AAA0-922B70A6BFFC}"/>
              </a:ext>
            </a:extLst>
          </p:cNvPr>
          <p:cNvSpPr/>
          <p:nvPr/>
        </p:nvSpPr>
        <p:spPr>
          <a:xfrm>
            <a:off x="9144000" y="0"/>
            <a:ext cx="3048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116BB6E-4F05-BB47-9133-9C21CEA7E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965" y="875771"/>
            <a:ext cx="2590271" cy="877094"/>
          </a:xfrm>
        </p:spPr>
        <p:txBody>
          <a:bodyPr lIns="0" tIns="0" rIns="0" bIns="0" anchor="t" anchorCtr="0">
            <a:noAutofit/>
          </a:bodyPr>
          <a:lstStyle>
            <a:lvl1pPr>
              <a:defRPr sz="2667">
                <a:solidFill>
                  <a:srgbClr val="0F62FE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BE2369E-45C9-4648-A74D-8A9626D688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334501" y="1362868"/>
            <a:ext cx="2479870" cy="496199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None/>
              <a:defRPr sz="1000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0C04226-ECBD-FA44-B43A-D6D1019482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833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1A87D9A5-6A0D-8045-B182-8D1D6CFB86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34321" y="381000"/>
            <a:ext cx="2476680" cy="761998"/>
          </a:xfrm>
        </p:spPr>
        <p:txBody>
          <a:bodyPr lIns="0" tIns="228600" rIns="0" bIns="0">
            <a:noAutofit/>
          </a:bodyPr>
          <a:lstStyle>
            <a:lvl1pPr marL="0" indent="0">
              <a:lnSpc>
                <a:spcPct val="100000"/>
              </a:lnSpc>
              <a:spcAft>
                <a:spcPts val="1667"/>
              </a:spcAft>
              <a:buNone/>
              <a:defRPr sz="1333" b="0" i="0">
                <a:latin typeface="IBM Plex Sans Medium" panose="020B0503050203000203" pitchFamily="34" charset="0"/>
              </a:defRPr>
            </a:lvl1pPr>
            <a:lvl2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Medium" panose="020B0503050203000203" pitchFamily="34" charset="0"/>
              </a:defRPr>
            </a:lvl2pPr>
            <a:lvl3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Medium" panose="020B0503050203000203" pitchFamily="34" charset="0"/>
              </a:defRPr>
            </a:lvl3pPr>
            <a:lvl4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Medium" panose="020B0503050203000203" pitchFamily="34" charset="0"/>
              </a:defRPr>
            </a:lvl4pPr>
            <a:lvl5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BAFC3B2-263A-354D-8E12-3224955FD64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1" y="6575790"/>
            <a:ext cx="384369" cy="15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5543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. Gray10 Whit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7E4EAC6-E81C-0A4C-B8F6-0355141B7998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ABEE567-03B9-2A4D-B14C-49FFF5940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5771"/>
            <a:ext cx="4038864" cy="814917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spcAft>
                <a:spcPts val="2833"/>
              </a:spcAft>
              <a:defRPr sz="2667" b="0" i="0">
                <a:solidFill>
                  <a:srgbClr val="0F62FE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09C566E1-62ED-034D-A43F-462C0D7096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1001" y="1943365"/>
            <a:ext cx="4038864" cy="43815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BA6157B9-0095-394C-9473-7E6A166040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86501" y="875771"/>
            <a:ext cx="2553229" cy="531415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A50E709-08E9-5542-8D18-86FFBAA349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0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437B2996-6B14-654C-BA76-9C7EB8B03EE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227553" y="875771"/>
            <a:ext cx="2583448" cy="531415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Aft>
                <a:spcPts val="1667"/>
              </a:spcAft>
              <a:defRPr sz="1333" b="0" i="0"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B26ECE5-2CDF-A142-8CE5-51B7E376D7F4}"/>
              </a:ext>
            </a:extLst>
          </p:cNvPr>
          <p:cNvGrpSpPr/>
          <p:nvPr/>
        </p:nvGrpSpPr>
        <p:grpSpPr>
          <a:xfrm>
            <a:off x="661512" y="6609394"/>
            <a:ext cx="2489725" cy="183809"/>
            <a:chOff x="914400" y="7899655"/>
            <a:chExt cx="2987670" cy="220571"/>
          </a:xfrm>
        </p:grpSpPr>
        <p:sp>
          <p:nvSpPr>
            <p:cNvPr id="13" name="Footer Placeholder 3">
              <a:extLst>
                <a:ext uri="{FF2B5EF4-FFF2-40B4-BE49-F238E27FC236}">
                  <a16:creationId xmlns:a16="http://schemas.microsoft.com/office/drawing/2014/main" id="{99EB7F6D-6F95-B64C-824C-063673A1B8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2 IBM Corporation</a:t>
              </a:r>
              <a:r>
                <a:rPr lang="en-US" sz="666" b="0" i="0" baseline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>
              <a:extLst>
                <a:ext uri="{FF2B5EF4-FFF2-40B4-BE49-F238E27FC236}">
                  <a16:creationId xmlns:a16="http://schemas.microsoft.com/office/drawing/2014/main" id="{8D65ECD1-CB5A-3940-9C68-C5E83915322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000"/>
                </a:spcAft>
                <a:tabLst/>
                <a:defRPr/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7A4A62CC-0DB5-7242-9D3F-33B1199D7C6F}"/>
              </a:ext>
            </a:extLst>
          </p:cNvPr>
          <p:cNvSpPr txBox="1">
            <a:spLocks/>
          </p:cNvSpPr>
          <p:nvPr/>
        </p:nvSpPr>
        <p:spPr>
          <a:xfrm>
            <a:off x="379048" y="6611958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rgbClr val="00114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rgbClr val="00114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20762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. Divider with photo inser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4CB9FF4-416B-644F-970E-175CD50F05F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338679-E0D7-564D-AD81-99C855D7E6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 marL="0" indent="0">
              <a:buNone/>
              <a:defRPr sz="2667"/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TW" altLang="en-US"/>
              <a:t>按一下圖示以新增圖片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D1C8DF4-A082-D248-A5AD-89E81858A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5771"/>
            <a:ext cx="4038865" cy="4877594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Aft>
                <a:spcPts val="6000"/>
              </a:spcAft>
              <a:defRPr sz="5333" b="0" i="0">
                <a:solidFill>
                  <a:srgbClr val="0F62FE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B924C78-AB80-A74D-9EB8-2B781C1F40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0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0A4A3DC-21C3-BE46-9E2B-767C267E0FA4}"/>
              </a:ext>
            </a:extLst>
          </p:cNvPr>
          <p:cNvGrpSpPr/>
          <p:nvPr/>
        </p:nvGrpSpPr>
        <p:grpSpPr>
          <a:xfrm>
            <a:off x="661512" y="6609394"/>
            <a:ext cx="2489725" cy="183809"/>
            <a:chOff x="914400" y="7899655"/>
            <a:chExt cx="2987670" cy="220571"/>
          </a:xfrm>
        </p:grpSpPr>
        <p:sp>
          <p:nvSpPr>
            <p:cNvPr id="12" name="Footer Placeholder 3">
              <a:extLst>
                <a:ext uri="{FF2B5EF4-FFF2-40B4-BE49-F238E27FC236}">
                  <a16:creationId xmlns:a16="http://schemas.microsoft.com/office/drawing/2014/main" id="{2047BE0C-B25F-784C-88C6-DA63F199B93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2 IBM Corporation</a:t>
              </a:r>
              <a:r>
                <a:rPr lang="en-US" sz="666" b="0" i="0" baseline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3" name="Date Placeholder 2">
              <a:extLst>
                <a:ext uri="{FF2B5EF4-FFF2-40B4-BE49-F238E27FC236}">
                  <a16:creationId xmlns:a16="http://schemas.microsoft.com/office/drawing/2014/main" id="{4EB1EB61-5A3A-0F46-B497-88F46AA0BF5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000"/>
                </a:spcAft>
                <a:tabLst/>
                <a:defRPr/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026F7E82-346D-F145-B614-89D93E046108}"/>
              </a:ext>
            </a:extLst>
          </p:cNvPr>
          <p:cNvSpPr txBox="1">
            <a:spLocks/>
          </p:cNvSpPr>
          <p:nvPr/>
        </p:nvSpPr>
        <p:spPr>
          <a:xfrm>
            <a:off x="379048" y="6611958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rgbClr val="00114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rgbClr val="00114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881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. White-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9DB4366-3CB5-BD46-8536-49D6631D6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5771"/>
            <a:ext cx="2476500" cy="876300"/>
          </a:xfrm>
        </p:spPr>
        <p:txBody>
          <a:bodyPr lIns="0" tIns="0" rIns="0" bIns="0" anchor="t" anchorCtr="0"/>
          <a:lstStyle>
            <a:lvl1pPr>
              <a:defRPr sz="2667">
                <a:solidFill>
                  <a:srgbClr val="00114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49E424B-58B4-4C48-B6E1-19C2C1D322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81001" y="1943365"/>
            <a:ext cx="2499527" cy="4381500"/>
          </a:xfrm>
        </p:spPr>
        <p:txBody>
          <a:bodyPr lIns="0" tIns="0" rIns="0" bIns="0"/>
          <a:lstStyle>
            <a:lvl1pPr marL="0" indent="0">
              <a:buNone/>
              <a:defRPr sz="1333">
                <a:solidFill>
                  <a:srgbClr val="001141"/>
                </a:solidFill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F6694A-26D6-BF47-BD5B-00224FBAAC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833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87C2E42-C7A6-CC47-8D98-F6491BED30A1}"/>
              </a:ext>
            </a:extLst>
          </p:cNvPr>
          <p:cNvCxnSpPr/>
          <p:nvPr/>
        </p:nvCxnSpPr>
        <p:spPr>
          <a:xfrm flipV="1">
            <a:off x="9144000" y="381000"/>
            <a:ext cx="0" cy="6096000"/>
          </a:xfrm>
          <a:prstGeom prst="line">
            <a:avLst/>
          </a:prstGeom>
          <a:ln w="3175">
            <a:solidFill>
              <a:srgbClr val="0011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889C111-70FE-8648-8451-DE6E7C48DFB7}"/>
              </a:ext>
            </a:extLst>
          </p:cNvPr>
          <p:cNvCxnSpPr/>
          <p:nvPr/>
        </p:nvCxnSpPr>
        <p:spPr>
          <a:xfrm flipV="1">
            <a:off x="6094288" y="381000"/>
            <a:ext cx="0" cy="6096000"/>
          </a:xfrm>
          <a:prstGeom prst="line">
            <a:avLst/>
          </a:prstGeom>
          <a:ln w="3175">
            <a:solidFill>
              <a:srgbClr val="0011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3C7159F-A843-B940-A925-CC810BADD368}"/>
              </a:ext>
            </a:extLst>
          </p:cNvPr>
          <p:cNvCxnSpPr/>
          <p:nvPr/>
        </p:nvCxnSpPr>
        <p:spPr>
          <a:xfrm flipV="1">
            <a:off x="3048000" y="381000"/>
            <a:ext cx="0" cy="6096000"/>
          </a:xfrm>
          <a:prstGeom prst="line">
            <a:avLst/>
          </a:prstGeom>
          <a:ln w="3175">
            <a:solidFill>
              <a:srgbClr val="0011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3576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. 1/4 White Gray10-Graphics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FCF0699-A389-5744-9D4D-4E7B2F0BDECE}"/>
              </a:ext>
            </a:extLst>
          </p:cNvPr>
          <p:cNvSpPr/>
          <p:nvPr/>
        </p:nvSpPr>
        <p:spPr>
          <a:xfrm>
            <a:off x="3238500" y="0"/>
            <a:ext cx="895350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3AA1A76-1969-0643-9B78-22AD04C00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5771"/>
            <a:ext cx="2476500" cy="877094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Aft>
                <a:spcPts val="2833"/>
              </a:spcAft>
              <a:defRPr sz="2667" b="0" i="0">
                <a:latin typeface="IBM Plex Sans Light" panose="020B0403050203000203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D89062B-2A1D-4541-A00F-EA75A8E510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81001" y="2424907"/>
            <a:ext cx="2476500" cy="3925093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67"/>
              </a:spcAft>
              <a:buNone/>
              <a:defRPr sz="1333" b="0" i="0">
                <a:latin typeface="IBM Plex Sans Light" panose="020B0403050203000203" pitchFamily="34" charset="0"/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7B0AC1C-0F9D-7B48-A245-BBE84F804A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0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0DA1BD6-521F-C043-A7A3-4311351A2D7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1" y="6575790"/>
            <a:ext cx="384369" cy="15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11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522976" cy="1072896"/>
          </a:xfrm>
        </p:spPr>
        <p:txBody>
          <a:bodyPr/>
          <a:lstStyle>
            <a:lvl1pPr>
              <a:defRPr sz="2667">
                <a:solidFill>
                  <a:schemeClr val="accent2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81000" y="1714500"/>
            <a:ext cx="5522976" cy="4572000"/>
          </a:xfrm>
        </p:spPr>
        <p:txBody>
          <a:bodyPr/>
          <a:lstStyle>
            <a:lvl1pPr>
              <a:defRPr b="0" i="0">
                <a:solidFill>
                  <a:schemeClr val="accent2"/>
                </a:solidFill>
                <a:latin typeface="IBM Plex Sans Medium" panose="020B050305020300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477000" y="1714500"/>
            <a:ext cx="5334000" cy="4572000"/>
          </a:xfrm>
        </p:spPr>
        <p:txBody>
          <a:bodyPr/>
          <a:lstStyle>
            <a:lvl1pPr>
              <a:defRPr b="0" i="0">
                <a:solidFill>
                  <a:schemeClr val="accent2"/>
                </a:solidFill>
                <a:latin typeface="IBM Plex Sans Medium" panose="020B050305020300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903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. Client Success S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E1D1B6-B23E-E34B-8F07-73F89B071A0D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ECDA7A2-0B43-3340-B7E5-6E631EA7E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5771"/>
            <a:ext cx="2666999" cy="87709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spcAft>
                <a:spcPts val="2833"/>
              </a:spcAft>
              <a:defRPr sz="2667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2F46406-0FDB-E141-B6B5-320316754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0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571C2D8E-47C0-5B43-AF70-DE863B9978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6000" cy="3429000"/>
          </a:xfrm>
        </p:spPr>
        <p:txBody>
          <a:bodyPr/>
          <a:lstStyle>
            <a:lvl1pPr marL="0" indent="0">
              <a:buNone/>
              <a:defRPr sz="2667"/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TW" altLang="en-US"/>
              <a:t>按一下圖示以新增圖片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1BF49D3-2F96-2D4D-A715-5C3D7D5CC08A}"/>
              </a:ext>
            </a:extLst>
          </p:cNvPr>
          <p:cNvCxnSpPr/>
          <p:nvPr/>
        </p:nvCxnSpPr>
        <p:spPr>
          <a:xfrm flipH="1">
            <a:off x="381000" y="3429000"/>
            <a:ext cx="5524500" cy="0"/>
          </a:xfrm>
          <a:prstGeom prst="line">
            <a:avLst/>
          </a:prstGeom>
          <a:ln w="3175">
            <a:solidFill>
              <a:srgbClr val="0011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2E1BAD2-A96A-C346-AA08-663D0B35BE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81000" y="1948113"/>
            <a:ext cx="2476500" cy="132811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1333"/>
              </a:lnSpc>
              <a:spcBef>
                <a:spcPts val="0"/>
              </a:spcBef>
              <a:spcAft>
                <a:spcPts val="1333"/>
              </a:spcAft>
              <a:buNone/>
              <a:defRPr sz="1000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C3ACA7E-C16E-4048-BF81-B7259CEF6A47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238500" y="1948113"/>
            <a:ext cx="2667000" cy="132811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1333"/>
              </a:lnSpc>
              <a:spcBef>
                <a:spcPts val="0"/>
              </a:spcBef>
              <a:spcAft>
                <a:spcPts val="1333"/>
              </a:spcAft>
              <a:buNone/>
              <a:defRPr sz="1000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828704B-54CF-0A43-A8BD-E8C3E58C60FF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381000" y="3466733"/>
            <a:ext cx="2476500" cy="2858130"/>
          </a:xfrm>
        </p:spPr>
        <p:txBody>
          <a:bodyPr lIns="0" tIns="228600" rIns="0" bIns="0">
            <a:normAutofit/>
          </a:bodyPr>
          <a:lstStyle>
            <a:lvl1pPr marL="0" indent="0">
              <a:lnSpc>
                <a:spcPts val="1667"/>
              </a:lnSpc>
              <a:spcBef>
                <a:spcPts val="0"/>
              </a:spcBef>
              <a:spcAft>
                <a:spcPts val="1333"/>
              </a:spcAft>
              <a:buNone/>
              <a:defRPr sz="1333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24B8E37-009C-214E-85CD-D12DFA7D1DD4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3238500" y="3466733"/>
            <a:ext cx="2667000" cy="2858130"/>
          </a:xfrm>
        </p:spPr>
        <p:txBody>
          <a:bodyPr lIns="0" tIns="228600" rIns="0" bIns="0">
            <a:normAutofit/>
          </a:bodyPr>
          <a:lstStyle>
            <a:lvl1pPr marL="0" indent="0">
              <a:lnSpc>
                <a:spcPts val="1667"/>
              </a:lnSpc>
              <a:spcBef>
                <a:spcPts val="0"/>
              </a:spcBef>
              <a:spcAft>
                <a:spcPts val="1333"/>
              </a:spcAft>
              <a:buNone/>
              <a:defRPr sz="1333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BF7E6EA2-91D0-9F47-B9AD-C08988A6CF81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6290733" y="3466733"/>
            <a:ext cx="2662767" cy="2858130"/>
          </a:xfrm>
        </p:spPr>
        <p:txBody>
          <a:bodyPr lIns="0" tIns="228600" rIns="0" bIns="0">
            <a:normAutofit/>
          </a:bodyPr>
          <a:lstStyle>
            <a:lvl1pPr marL="0" indent="0">
              <a:lnSpc>
                <a:spcPts val="1333"/>
              </a:lnSpc>
              <a:spcBef>
                <a:spcPts val="0"/>
              </a:spcBef>
              <a:spcAft>
                <a:spcPts val="1333"/>
              </a:spcAft>
              <a:buNone/>
              <a:defRPr sz="1000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D88116-6620-3942-AA4A-B81ED28FD8A9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334500" y="3466733"/>
            <a:ext cx="2476500" cy="2858130"/>
          </a:xfrm>
        </p:spPr>
        <p:txBody>
          <a:bodyPr lIns="0" tIns="228600" rIns="0" bIns="0">
            <a:normAutofit/>
          </a:bodyPr>
          <a:lstStyle>
            <a:lvl1pPr marL="0" indent="0">
              <a:lnSpc>
                <a:spcPts val="1333"/>
              </a:lnSpc>
              <a:spcBef>
                <a:spcPts val="0"/>
              </a:spcBef>
              <a:spcAft>
                <a:spcPts val="1333"/>
              </a:spcAft>
              <a:buNone/>
              <a:defRPr sz="1000"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  <a:lvl2pPr marL="380985" indent="0">
              <a:buNone/>
              <a:defRPr sz="1167"/>
            </a:lvl2pPr>
            <a:lvl3pPr marL="761970" indent="0">
              <a:buNone/>
              <a:defRPr sz="1000"/>
            </a:lvl3pPr>
            <a:lvl4pPr marL="1142954" indent="0">
              <a:buNone/>
              <a:defRPr sz="833"/>
            </a:lvl4pPr>
            <a:lvl5pPr marL="1523939" indent="0">
              <a:buNone/>
              <a:defRPr sz="833"/>
            </a:lvl5pPr>
            <a:lvl6pPr marL="1904924" indent="0">
              <a:buNone/>
              <a:defRPr sz="833"/>
            </a:lvl6pPr>
            <a:lvl7pPr marL="2285909" indent="0">
              <a:buNone/>
              <a:defRPr sz="833"/>
            </a:lvl7pPr>
            <a:lvl8pPr marL="2666893" indent="0">
              <a:buNone/>
              <a:defRPr sz="833"/>
            </a:lvl8pPr>
            <a:lvl9pPr marL="3047878" indent="0">
              <a:buNone/>
              <a:defRPr sz="833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1697289-D788-B746-BDC6-5B4EE586364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1" y="6575790"/>
            <a:ext cx="384369" cy="15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469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A37396C2-53D6-F4BA-D130-8B5A64EA89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>
            <a:extLst>
              <a:ext uri="{FF2B5EF4-FFF2-40B4-BE49-F238E27FC236}">
                <a16:creationId xmlns:a16="http://schemas.microsoft.com/office/drawing/2014/main" id="{3BE5968A-0ED6-BF5B-6B6D-004C32AC95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3590923B-F4EF-A019-AE6F-1D637D72E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F86ADD-AA54-4486-84E8-551FCC84BF1E}" type="datetimeFigureOut">
              <a:rPr lang="zh-TW" altLang="en-US" smtClean="0"/>
              <a:t>2024/10/13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792CEC49-1E16-5A18-E4CB-F13F59420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26C0B07A-4070-9FF5-6C7B-62EAF4EA8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60EFF-30D6-44E6-8F3E-FB4F1942CDB4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991389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0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685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1198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TW" altLang="en-US"/>
              <a:t>按一下圖示以新增圖片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5498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3"/>
          <p:cNvSpPr/>
          <p:nvPr userDrawn="1"/>
        </p:nvSpPr>
        <p:spPr>
          <a:xfrm>
            <a:off x="0" y="0"/>
            <a:ext cx="2063552" cy="68580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60960" rIns="121920" bIns="60960" rtlCol="0" anchor="ctr"/>
          <a:lstStyle/>
          <a:p>
            <a:pPr algn="ctr"/>
            <a:endParaRPr lang="ko-KR" altLang="en-US" sz="180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33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33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7" name="Right Triangle 4"/>
          <p:cNvSpPr/>
          <p:nvPr userDrawn="1"/>
        </p:nvSpPr>
        <p:spPr>
          <a:xfrm rot="10800000">
            <a:off x="11351168" y="0"/>
            <a:ext cx="836288" cy="2660915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60960" rIns="121920" bIns="60960" rtlCol="0" anchor="ctr"/>
          <a:lstStyle/>
          <a:p>
            <a:pPr algn="ctr"/>
            <a:endParaRPr lang="ko-KR" altLang="en-US" sz="1800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164" y="5516879"/>
            <a:ext cx="2298236" cy="928038"/>
          </a:xfrm>
          <a:prstGeom prst="rect">
            <a:avLst/>
          </a:prstGeom>
        </p:spPr>
      </p:pic>
      <p:sp>
        <p:nvSpPr>
          <p:cNvPr id="2" name="文字方塊 1"/>
          <p:cNvSpPr txBox="1"/>
          <p:nvPr userDrawn="1"/>
        </p:nvSpPr>
        <p:spPr>
          <a:xfrm>
            <a:off x="8305800" y="6324600"/>
            <a:ext cx="2019300" cy="304800"/>
          </a:xfrm>
          <a:prstGeom prst="rect">
            <a:avLst/>
          </a:prstGeom>
        </p:spPr>
        <p:txBody>
          <a:bodyPr wrap="square" lIns="76200" tIns="38100" rIns="76200" bIns="38100" rtlCol="0">
            <a:noAutofit/>
          </a:bodyPr>
          <a:lstStyle/>
          <a:p>
            <a:pPr>
              <a:lnSpc>
                <a:spcPct val="105000"/>
              </a:lnSpc>
              <a:spcBef>
                <a:spcPts val="833"/>
              </a:spcBef>
            </a:pPr>
            <a:r>
              <a:rPr lang="en-US" altLang="zh-TW" sz="1667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August 29, 2024</a:t>
            </a:r>
            <a:endParaRPr lang="zh-TW" altLang="en-US" sz="1667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3" name="文字方塊 2"/>
          <p:cNvSpPr txBox="1"/>
          <p:nvPr userDrawn="1"/>
        </p:nvSpPr>
        <p:spPr>
          <a:xfrm>
            <a:off x="11010900" y="6322150"/>
            <a:ext cx="495300" cy="245533"/>
          </a:xfrm>
          <a:prstGeom prst="rect">
            <a:avLst/>
          </a:prstGeom>
        </p:spPr>
        <p:txBody>
          <a:bodyPr wrap="square" lIns="76200" tIns="38100" rIns="76200" bIns="38100" rtlCol="0">
            <a:noAutofit/>
          </a:bodyPr>
          <a:lstStyle/>
          <a:p>
            <a:pPr>
              <a:lnSpc>
                <a:spcPct val="105000"/>
              </a:lnSpc>
              <a:spcBef>
                <a:spcPts val="833"/>
              </a:spcBef>
            </a:pPr>
            <a:fld id="{75127BDC-4723-4A11-A2C0-77475E00A5F9}" type="slidenum">
              <a:rPr lang="zh-TW" altLang="en-US" sz="1667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>
                <a:lnSpc>
                  <a:spcPct val="105000"/>
                </a:lnSpc>
                <a:spcBef>
                  <a:spcPts val="833"/>
                </a:spcBef>
              </a:pPr>
              <a:t>‹#›</a:t>
            </a:fld>
            <a:endParaRPr lang="zh-TW" altLang="en-US" sz="1667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0791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29" y="3083848"/>
            <a:ext cx="1730142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3732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0929" y="3083846"/>
            <a:ext cx="1730142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131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522976" cy="1072896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81000" y="1714500"/>
            <a:ext cx="2476500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238500" y="1714500"/>
            <a:ext cx="2665476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286499" y="1714500"/>
            <a:ext cx="2665476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334500" y="1714500"/>
            <a:ext cx="2476500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168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334000" cy="5715000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477000" y="381000"/>
            <a:ext cx="5334000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ED6DDD-2BDE-8747-B419-0B4E6D41E04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1" y="6575790"/>
            <a:ext cx="384369" cy="15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674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, text (split backgro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334000" cy="5715000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477000" y="381000"/>
            <a:ext cx="5334000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2805C5-8A37-D940-A85E-4E47EC5E6F9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1" y="6575790"/>
            <a:ext cx="384369" cy="15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21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0999"/>
            <a:ext cx="5522976" cy="1219200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8542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048000" y="0"/>
            <a:ext cx="9144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500"/>
            <a:ext cx="2476500" cy="3048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2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1" y="152400"/>
            <a:ext cx="2476500" cy="685800"/>
          </a:xfrm>
        </p:spPr>
        <p:txBody>
          <a:bodyPr tIns="0" anchor="t">
            <a:noAutofit/>
          </a:bodyPr>
          <a:lstStyle>
            <a:lvl1pPr>
              <a:defRPr sz="1167">
                <a:solidFill>
                  <a:srgbClr val="0F62FE"/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6286500" y="1714501"/>
            <a:ext cx="2819400" cy="43815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5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238500" y="1714501"/>
            <a:ext cx="2819400" cy="43815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0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9334500" y="1714501"/>
            <a:ext cx="2667000" cy="43815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5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22A631-FDC6-164A-A0C6-71DA01D885D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1" y="6575790"/>
            <a:ext cx="384369" cy="15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304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. White Background-Title_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CDDBEA-8282-A349-A313-A9A985A93D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903824"/>
            <a:ext cx="4038865" cy="87709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spcAft>
                <a:spcPts val="2833"/>
              </a:spcAft>
              <a:defRPr sz="2667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8920C27-14DB-5043-9FA6-FAD8D4F22C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2199408"/>
            <a:ext cx="4038865" cy="3325093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667"/>
              </a:spcAft>
              <a:buNone/>
              <a:defRPr sz="1333" b="0" i="0">
                <a:latin typeface="IBM Plex Sans Light" panose="020B0403050203000203" pitchFamily="34" charset="0"/>
              </a:defRPr>
            </a:lvl1pPr>
            <a:lvl2pPr marL="380985" indent="0" algn="ctr">
              <a:buNone/>
              <a:defRPr sz="1667"/>
            </a:lvl2pPr>
            <a:lvl3pPr marL="761970" indent="0" algn="ctr">
              <a:buNone/>
              <a:defRPr sz="1500"/>
            </a:lvl3pPr>
            <a:lvl4pPr marL="1142954" indent="0" algn="ctr">
              <a:buNone/>
              <a:defRPr sz="1333"/>
            </a:lvl4pPr>
            <a:lvl5pPr marL="1523939" indent="0" algn="ctr">
              <a:buNone/>
              <a:defRPr sz="1333"/>
            </a:lvl5pPr>
            <a:lvl6pPr marL="1904924" indent="0" algn="ctr">
              <a:buNone/>
              <a:defRPr sz="1333"/>
            </a:lvl6pPr>
            <a:lvl7pPr marL="2285909" indent="0" algn="ctr">
              <a:buNone/>
              <a:defRPr sz="1333"/>
            </a:lvl7pPr>
            <a:lvl8pPr marL="2666893" indent="0" algn="ctr">
              <a:buNone/>
              <a:defRPr sz="1333"/>
            </a:lvl8pPr>
            <a:lvl9pPr marL="3047878" indent="0" algn="ctr">
              <a:buNone/>
              <a:defRPr sz="1333"/>
            </a:lvl9pPr>
          </a:lstStyle>
          <a:p>
            <a:r>
              <a:rPr lang="zh-TW" altLang="en-US"/>
              <a:t>按一下以編輯母片子標題樣式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69D03E8-341A-684F-A2FA-202EB65194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1000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D3808D1-5B0C-FB4B-B4B0-C3FEB3758511}"/>
              </a:ext>
            </a:extLst>
          </p:cNvPr>
          <p:cNvGrpSpPr/>
          <p:nvPr/>
        </p:nvGrpSpPr>
        <p:grpSpPr>
          <a:xfrm>
            <a:off x="-205742" y="-190499"/>
            <a:ext cx="12588243" cy="7209772"/>
            <a:chOff x="-109730" y="-110489"/>
            <a:chExt cx="9352896" cy="535181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60E1ADA-2BDA-9D40-9A6C-DC88F8F1C790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0E49D21-1A52-6141-A9DD-60A91A462D9C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1A3C2B2C-D760-DF4C-9987-7634BD965B1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01BB4B0-65F1-EA43-8B7E-81ADC01D6F5C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43A7F40-8B71-C84E-B1FA-1DE0333EE8F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6B31A49-931E-754D-BC5F-CA05F7149D3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2580F9B-DC53-6449-B303-C9D49E0EF06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F141D2D-4EA9-204E-9CAD-136115D5DB6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7934C0F-B55B-D248-A00F-CD38E23E47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7B6B5DE-60F2-4947-968B-5D57C18B911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CADF15F-081E-804E-B998-ECA2207B0D0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6A1A5D6-DC92-3D40-BACC-21435097093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4D9DC5D-77FB-F440-B5DB-A2DA329BB657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43923083-04B5-664A-91EC-BDE595145E1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AB56F0E2-D159-1344-AED0-C205E861286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5BBF07F-6759-454F-A91D-B102B8AC191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06CDBD1-5104-2345-A227-AD9F587B64B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8EE3F69-0BBE-BD4F-9AD0-1CB352E1AD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7C98A40D-08C2-CE4C-84EC-F44645F7323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F2C4334-325C-F648-85C6-42EA35A5D42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DCB3919-C6D8-7841-8668-4FC65B2B152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4A95870D-535C-3845-B53B-3A776CA153C0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E89ED024-07E4-8043-81FE-ED2CF733D6F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6C26E068-11CF-5A4C-9076-192CCF5D76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BB5C23F-A661-304E-8011-DD021448031E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525058"/>
              <a:chOff x="-109730" y="313734"/>
              <a:chExt cx="124556" cy="4525058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0C7ABC2B-4A6F-B94C-8519-4112F75E043D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C7B0C4DF-FB88-3E41-A423-6B9060FFFC04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0F21C9AE-BA75-4B42-8ABF-6D9511D56DA5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F93FD6DA-8879-FB44-9DA8-FB462D50A869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98549E76-8743-074C-8EC8-6E60CA66AF1C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838792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4498DC8-B4AA-1145-94DF-30D6EA792B67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525057"/>
              <a:chOff x="-149362" y="307384"/>
              <a:chExt cx="119748" cy="4525057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CAD88016-E1AB-3E4A-A193-B0EE59ABA177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A34A47F0-153C-F044-8B57-897D51D0F3A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5BEF783C-A4C5-464B-B070-CB463F346A63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A16682FB-1EAE-BF4A-90A7-F03FCDEB53CD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CED665C-B02F-8448-B30E-668DB8D2C953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832441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67843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  <p15:guide id="2" orient="horz" pos="6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. Divider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A7118BE-EDEE-1C4C-95E1-9F042430A7BB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C52A26D-7A26-E44D-ACFF-BBB6A99749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875771"/>
            <a:ext cx="4038865" cy="4877594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Aft>
                <a:spcPts val="6000"/>
              </a:spcAft>
              <a:defRPr sz="5333" b="0" i="0">
                <a:solidFill>
                  <a:srgbClr val="0F62FE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7E62F4B-AD46-B54A-969A-335720FBDE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3810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833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9F9782-4CB3-5E49-A169-EADD93729521}"/>
              </a:ext>
            </a:extLst>
          </p:cNvPr>
          <p:cNvGrpSpPr/>
          <p:nvPr/>
        </p:nvGrpSpPr>
        <p:grpSpPr>
          <a:xfrm>
            <a:off x="661512" y="6609394"/>
            <a:ext cx="2489725" cy="183809"/>
            <a:chOff x="914400" y="7899655"/>
            <a:chExt cx="2987670" cy="220571"/>
          </a:xfrm>
        </p:grpSpPr>
        <p:sp>
          <p:nvSpPr>
            <p:cNvPr id="12" name="Footer Placeholder 3">
              <a:extLst>
                <a:ext uri="{FF2B5EF4-FFF2-40B4-BE49-F238E27FC236}">
                  <a16:creationId xmlns:a16="http://schemas.microsoft.com/office/drawing/2014/main" id="{15717F7F-FFC1-FC44-8F5B-F68061A9048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2 IBM Corporation</a:t>
              </a:r>
              <a:r>
                <a:rPr lang="en-US" sz="666" b="0" i="0" baseline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3" name="Date Placeholder 2">
              <a:extLst>
                <a:ext uri="{FF2B5EF4-FFF2-40B4-BE49-F238E27FC236}">
                  <a16:creationId xmlns:a16="http://schemas.microsoft.com/office/drawing/2014/main" id="{FD128882-6AFB-DC49-802D-DB4BCB50D96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000"/>
                </a:spcAft>
                <a:tabLst/>
                <a:defRPr/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2FA02FE-691C-904C-B089-B5EE309060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6501" y="381000"/>
            <a:ext cx="2553229" cy="13716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67"/>
              </a:spcAft>
              <a:buNone/>
              <a:defRPr sz="1333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8123DCF-ACE9-AA42-A3EA-FF49510848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18753" y="381000"/>
            <a:ext cx="2592247" cy="13716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67"/>
              </a:spcAft>
              <a:buNone/>
              <a:defRPr sz="1333" b="0" i="0"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542DBC9-C492-114A-B222-E094FD4275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6501" y="1943582"/>
            <a:ext cx="2553229" cy="4381283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67"/>
              </a:spcAft>
              <a:buNone/>
              <a:defRPr sz="1333" b="0" i="0">
                <a:latin typeface="IBM Plex Sans Medium" panose="020B0503050203000203" pitchFamily="34" charset="0"/>
              </a:defRPr>
            </a:lvl1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AA0AAFEE-9EDA-2049-97B8-9766D20893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18753" y="1943582"/>
            <a:ext cx="2592247" cy="4381283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67"/>
              </a:spcAft>
              <a:buNone/>
              <a:defRPr sz="1333" b="0" i="0">
                <a:latin typeface="IBM Plex Sans Medium" panose="020B0503050203000203" pitchFamily="34" charset="0"/>
              </a:defRPr>
            </a:lvl1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698ECAB5-A913-B54A-9779-71F61AF417EB}"/>
              </a:ext>
            </a:extLst>
          </p:cNvPr>
          <p:cNvSpPr txBox="1">
            <a:spLocks/>
          </p:cNvSpPr>
          <p:nvPr/>
        </p:nvSpPr>
        <p:spPr>
          <a:xfrm>
            <a:off x="379048" y="6611958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rgbClr val="00114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rgbClr val="00114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605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38ABC6-B270-4774-A833-F715383ADEE6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5329800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38ABC6-B270-4774-A833-F715383ADE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381000" y="381000"/>
            <a:ext cx="5524496" cy="5969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477000" y="381000"/>
            <a:ext cx="5333998" cy="5968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7" name="Slide Number Placeholder 2">
            <a:extLst>
              <a:ext uri="{FF2B5EF4-FFF2-40B4-BE49-F238E27FC236}">
                <a16:creationId xmlns:a16="http://schemas.microsoft.com/office/drawing/2014/main" id="{E3CF103D-266B-BC49-8A35-E7A29F9A7C4A}"/>
              </a:ext>
            </a:extLst>
          </p:cNvPr>
          <p:cNvSpPr txBox="1">
            <a:spLocks/>
          </p:cNvSpPr>
          <p:nvPr/>
        </p:nvSpPr>
        <p:spPr>
          <a:xfrm>
            <a:off x="381000" y="6617439"/>
            <a:ext cx="273232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>
                <a:solidFill>
                  <a:schemeClr val="tx1"/>
                </a:solidFill>
                <a:latin typeface="IBM Plex Sans" panose="020B0503050000000000" pitchFamily="34" charset="77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tx1"/>
              </a:solidFill>
              <a:latin typeface="IBM Plex Sans" panose="020B0503050000000000" pitchFamily="34" charset="77"/>
              <a:ea typeface="IBM Plex Sans" charset="0"/>
              <a:cs typeface="IBM Plex Sans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CC00A88-4A19-6C48-922B-415CF82AD08C}"/>
              </a:ext>
            </a:extLst>
          </p:cNvPr>
          <p:cNvGrpSpPr/>
          <p:nvPr/>
        </p:nvGrpSpPr>
        <p:grpSpPr>
          <a:xfrm>
            <a:off x="-205742" y="-190499"/>
            <a:ext cx="12588243" cy="7209772"/>
            <a:chOff x="-109730" y="-110489"/>
            <a:chExt cx="9352896" cy="5351811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6C2A0210-CFBC-394D-A938-778FB6421104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8965F14-1CB6-5843-9F9F-6B676184ADE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B8A782A-B233-0E4E-B3CD-5EE3BF97C65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A1DC1833-C465-4545-8572-CA2BF3C440A8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984DB13C-715F-4C41-A086-F8B04B8338B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E4E47650-7CC3-E04C-92FB-D684F2CD6CE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48E322F4-6558-1941-9668-7BA9BD1DD8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5B67F614-8FE1-D140-884E-B58A72DE0C5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4D35566C-B1A5-EA4C-B259-8C8C4D4DAC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09214A7D-67C2-8944-92DC-99D0E47D2D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A1CDACE7-EB75-4C46-81A7-AA51D8058C5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0DE10E2C-13E0-E045-979D-18B43046211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FD80F033-645B-5D4F-A361-EA80F684A392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D7AF79B6-9A4C-6646-9D0E-0EFBC879BCA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3A48562-9ED8-2447-B180-45BC3A7731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213B6266-0A93-084E-8A78-AE6C03C5F94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69131E21-73CB-E242-BBDC-0E18035BD6F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7470289F-4240-FF43-A440-B8043B23295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181E438-CE1F-204B-B678-19B8BDBDEF0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495CFAF-959F-8D42-94E4-963B9477BB9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597E11FF-33D2-8044-894E-13FB3452978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23BD1786-FF52-F647-921E-9287706FFD7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E256C9B2-A5FE-BC4E-920F-CEBABA73B9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E1A1A939-9E62-2E4C-9714-2F6929182E3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65151D40-4251-CA4F-9CEA-04AAC5EF6968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430783"/>
              <a:chOff x="-109730" y="313734"/>
              <a:chExt cx="124556" cy="4430783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D3AB832-ECA3-1C40-9D87-D3BF3E76579E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DEA137B8-70C8-E047-92CB-43CBD0F96DD8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F9E5AD6-4E33-6C4E-BCF9-D40AC0EA8DB2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DEBF4B0D-888C-E341-8D2C-A2B62D3927F7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A1525CA-DB42-1F46-952B-49632CFC59C5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744517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A6884295-F7A1-534D-ABFD-819D33AD6D11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428901"/>
              <a:chOff x="-149362" y="307384"/>
              <a:chExt cx="119748" cy="4428901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2C290D71-5B73-D042-BDA2-E632B7E0FFA5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5646BE28-7152-2040-A2AF-B34178C299A1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296DD67-0C6C-0549-B851-03883C54615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0ACE78AA-7905-5246-83D4-D5D84E497E8A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30562EE8-1F7C-6E45-9B05-5B7385E02341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736285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5C614FC-E083-3249-9C00-05BA0A3CC540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1" y="6575790"/>
            <a:ext cx="384369" cy="155210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40A82E3A-8FD7-5C4A-A70B-5FD272B8E6E4}"/>
              </a:ext>
            </a:extLst>
          </p:cNvPr>
          <p:cNvGrpSpPr/>
          <p:nvPr/>
        </p:nvGrpSpPr>
        <p:grpSpPr>
          <a:xfrm>
            <a:off x="653523" y="6619701"/>
            <a:ext cx="2489725" cy="183809"/>
            <a:chOff x="914400" y="7899655"/>
            <a:chExt cx="2987670" cy="220571"/>
          </a:xfrm>
        </p:grpSpPr>
        <p:sp>
          <p:nvSpPr>
            <p:cNvPr id="46" name="Footer Placeholder 3">
              <a:extLst>
                <a:ext uri="{FF2B5EF4-FFF2-40B4-BE49-F238E27FC236}">
                  <a16:creationId xmlns:a16="http://schemas.microsoft.com/office/drawing/2014/main" id="{3218AA08-200C-B243-A0B5-D8886E9D77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333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2022 IBM Corporation</a:t>
              </a:r>
              <a:r>
                <a:rPr lang="en-US" sz="666" b="0" i="0" baseline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47" name="Date Placeholder 2">
              <a:extLst>
                <a:ext uri="{FF2B5EF4-FFF2-40B4-BE49-F238E27FC236}">
                  <a16:creationId xmlns:a16="http://schemas.microsoft.com/office/drawing/2014/main" id="{CA772469-1D8A-6F48-9A1F-D08FE2514EF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64592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000"/>
                </a:spcAft>
                <a:tabLst/>
                <a:defRPr/>
              </a:pPr>
              <a:r>
                <a:rPr lang="en-US" sz="666" b="0" i="0" dirty="0">
                  <a:solidFill>
                    <a:srgbClr val="001141"/>
                  </a:solidFill>
                  <a:latin typeface="IBM Plex Sans" charset="0"/>
                  <a:ea typeface="IBM Plex Sans" charset="0"/>
                  <a:cs typeface="IBM Plex Sans" charset="0"/>
                </a:rPr>
                <a:t> IBM Consul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3967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4" r:id="rId21"/>
    <p:sldLayoutId id="2147483689" r:id="rId22"/>
    <p:sldLayoutId id="2147483691" r:id="rId23"/>
    <p:sldLayoutId id="2147483705" r:id="rId24"/>
    <p:sldLayoutId id="2147483720" r:id="rId2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1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1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ts val="15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52394" indent="-152394" algn="l" rtl="0" eaLnBrk="1" fontAlgn="base" hangingPunct="1">
        <a:lnSpc>
          <a:spcPct val="110000"/>
        </a:lnSpc>
        <a:spcBef>
          <a:spcPts val="10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04788" indent="-152394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457182" indent="-152394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5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609576" indent="-152394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4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51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357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76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5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13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18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24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32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36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42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48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>
          <p15:clr>
            <a:srgbClr val="F26B43"/>
          </p15:clr>
        </p15:guide>
        <p15:guide id="2" pos="288">
          <p15:clr>
            <a:srgbClr val="F26B43"/>
          </p15:clr>
        </p15:guide>
        <p15:guide id="3" pos="8928">
          <p15:clr>
            <a:srgbClr val="F26B43"/>
          </p15:clr>
        </p15:guide>
        <p15:guide id="4" orient="horz" pos="4800">
          <p15:clr>
            <a:srgbClr val="F26B43"/>
          </p15:clr>
        </p15:guide>
        <p15:guide id="5" orient="horz" pos="5088">
          <p15:clr>
            <a:srgbClr val="F26B43"/>
          </p15:clr>
        </p15:guide>
        <p15:guide id="6" pos="4608">
          <p15:clr>
            <a:srgbClr val="547EBF"/>
          </p15:clr>
        </p15:guide>
        <p15:guide id="7" pos="4464">
          <p15:clr>
            <a:srgbClr val="F26B43"/>
          </p15:clr>
        </p15:guide>
        <p15:guide id="8" pos="2304">
          <p15:clr>
            <a:srgbClr val="547EBF"/>
          </p15:clr>
        </p15:guide>
        <p15:guide id="9" pos="4752">
          <p15:clr>
            <a:srgbClr val="F26B43"/>
          </p15:clr>
        </p15:guide>
        <p15:guide id="10" pos="2160">
          <p15:clr>
            <a:srgbClr val="F26B43"/>
          </p15:clr>
        </p15:guide>
        <p15:guide id="11" pos="2448">
          <p15:clr>
            <a:srgbClr val="F26B43"/>
          </p15:clr>
        </p15:guide>
        <p15:guide id="12" pos="6912">
          <p15:clr>
            <a:srgbClr val="547EBF"/>
          </p15:clr>
        </p15:guide>
        <p15:guide id="13" pos="6768">
          <p15:clr>
            <a:srgbClr val="F26B43"/>
          </p15:clr>
        </p15:guide>
        <p15:guide id="14" pos="7056">
          <p15:clr>
            <a:srgbClr val="F26B43"/>
          </p15:clr>
        </p15:guide>
        <p15:guide id="17" orient="horz" pos="1296">
          <p15:clr>
            <a:srgbClr val="547EBF"/>
          </p15:clr>
        </p15:guide>
        <p15:guide id="18" orient="horz" pos="2592">
          <p15:clr>
            <a:srgbClr val="547EBF"/>
          </p15:clr>
        </p15:guide>
        <p15:guide id="21" orient="horz" pos="3888">
          <p15:clr>
            <a:srgbClr val="547EBF"/>
          </p15:clr>
        </p15:guide>
        <p15:guide id="22" pos="4896">
          <p15:clr>
            <a:srgbClr val="FDE53C"/>
          </p15:clr>
        </p15:guide>
        <p15:guide id="23" pos="4320">
          <p15:clr>
            <a:srgbClr val="FDE53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C7F9FD1-E2A7-4C9A-8909-FC4C9EFA0916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85830461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C7F9FD1-E2A7-4C9A-8909-FC4C9EFA0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381000" y="381000"/>
            <a:ext cx="5524496" cy="5969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477000" y="381000"/>
            <a:ext cx="5333998" cy="5968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CC00A88-4A19-6C48-922B-415CF82AD08C}"/>
              </a:ext>
            </a:extLst>
          </p:cNvPr>
          <p:cNvGrpSpPr/>
          <p:nvPr/>
        </p:nvGrpSpPr>
        <p:grpSpPr>
          <a:xfrm>
            <a:off x="-205742" y="-190499"/>
            <a:ext cx="12588243" cy="7209772"/>
            <a:chOff x="-109730" y="-110489"/>
            <a:chExt cx="9352896" cy="5351811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6C2A0210-CFBC-394D-A938-778FB6421104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8965F14-1CB6-5843-9F9F-6B676184ADE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B8A782A-B233-0E4E-B3CD-5EE3BF97C65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A1DC1833-C465-4545-8572-CA2BF3C440A8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984DB13C-715F-4C41-A086-F8B04B8338B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E4E47650-7CC3-E04C-92FB-D684F2CD6CE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48E322F4-6558-1941-9668-7BA9BD1DD8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5B67F614-8FE1-D140-884E-B58A72DE0C5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4D35566C-B1A5-EA4C-B259-8C8C4D4DAC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09214A7D-67C2-8944-92DC-99D0E47D2D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A1CDACE7-EB75-4C46-81A7-AA51D8058C5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0DE10E2C-13E0-E045-979D-18B43046211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FD80F033-645B-5D4F-A361-EA80F684A392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D7AF79B6-9A4C-6646-9D0E-0EFBC879BCA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3A48562-9ED8-2447-B180-45BC3A7731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213B6266-0A93-084E-8A78-AE6C03C5F94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69131E21-73CB-E242-BBDC-0E18035BD6F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7470289F-4240-FF43-A440-B8043B23295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181E438-CE1F-204B-B678-19B8BDBDEF0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495CFAF-959F-8D42-94E4-963B9477BB9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597E11FF-33D2-8044-894E-13FB3452978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23BD1786-FF52-F647-921E-9287706FFD7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E256C9B2-A5FE-BC4E-920F-CEBABA73B9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E1A1A939-9E62-2E4C-9714-2F6929182E3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65151D40-4251-CA4F-9CEA-04AAC5EF6968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430783"/>
              <a:chOff x="-109730" y="313734"/>
              <a:chExt cx="124556" cy="4430783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D3AB832-ECA3-1C40-9D87-D3BF3E76579E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DEA137B8-70C8-E047-92CB-43CBD0F96DD8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F9E5AD6-4E33-6C4E-BCF9-D40AC0EA8DB2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DEBF4B0D-888C-E341-8D2C-A2B62D3927F7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A1525CA-DB42-1F46-952B-49632CFC59C5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744517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A6884295-F7A1-534D-ABFD-819D33AD6D11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428901"/>
              <a:chOff x="-149362" y="307384"/>
              <a:chExt cx="119748" cy="4428901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2C290D71-5B73-D042-BDA2-E632B7E0FFA5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5646BE28-7152-2040-A2AF-B34178C299A1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296DD67-0C6C-0549-B851-03883C54615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0ACE78AA-7905-5246-83D4-D5D84E497E8A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30562EE8-1F7C-6E45-9B05-5B7385E02341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736285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1377266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6" r:id="rId1"/>
    <p:sldLayoutId id="2147483687" r:id="rId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1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1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52394" indent="-152394" algn="l" rtl="0" eaLnBrk="1" fontAlgn="base" hangingPunct="1">
        <a:lnSpc>
          <a:spcPct val="110000"/>
        </a:lnSpc>
        <a:spcBef>
          <a:spcPts val="10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04788" indent="-152394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457182" indent="-152394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5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609576" indent="-152394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4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51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357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76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5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13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18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24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32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36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42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48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>
          <p15:clr>
            <a:srgbClr val="F26B43"/>
          </p15:clr>
        </p15:guide>
        <p15:guide id="2" pos="288">
          <p15:clr>
            <a:srgbClr val="F26B43"/>
          </p15:clr>
        </p15:guide>
        <p15:guide id="3" pos="8928">
          <p15:clr>
            <a:srgbClr val="F26B43"/>
          </p15:clr>
        </p15:guide>
        <p15:guide id="4" orient="horz" pos="4800">
          <p15:clr>
            <a:srgbClr val="F26B43"/>
          </p15:clr>
        </p15:guide>
        <p15:guide id="5" orient="horz" pos="5088">
          <p15:clr>
            <a:srgbClr val="F26B43"/>
          </p15:clr>
        </p15:guide>
        <p15:guide id="6" pos="4608">
          <p15:clr>
            <a:srgbClr val="547EBF"/>
          </p15:clr>
        </p15:guide>
        <p15:guide id="7" pos="4464">
          <p15:clr>
            <a:srgbClr val="F26B43"/>
          </p15:clr>
        </p15:guide>
        <p15:guide id="8" pos="2304">
          <p15:clr>
            <a:srgbClr val="547EBF"/>
          </p15:clr>
        </p15:guide>
        <p15:guide id="9" pos="4752">
          <p15:clr>
            <a:srgbClr val="F26B43"/>
          </p15:clr>
        </p15:guide>
        <p15:guide id="10" pos="2160">
          <p15:clr>
            <a:srgbClr val="F26B43"/>
          </p15:clr>
        </p15:guide>
        <p15:guide id="11" pos="2448">
          <p15:clr>
            <a:srgbClr val="F26B43"/>
          </p15:clr>
        </p15:guide>
        <p15:guide id="12" pos="6912">
          <p15:clr>
            <a:srgbClr val="547EBF"/>
          </p15:clr>
        </p15:guide>
        <p15:guide id="13" pos="6768">
          <p15:clr>
            <a:srgbClr val="F26B43"/>
          </p15:clr>
        </p15:guide>
        <p15:guide id="14" pos="7056">
          <p15:clr>
            <a:srgbClr val="F26B43"/>
          </p15:clr>
        </p15:guide>
        <p15:guide id="17" orient="horz" pos="1296">
          <p15:clr>
            <a:srgbClr val="547EBF"/>
          </p15:clr>
        </p15:guide>
        <p15:guide id="18" orient="horz" pos="2592">
          <p15:clr>
            <a:srgbClr val="547EBF"/>
          </p15:clr>
        </p15:guide>
        <p15:guide id="21" orient="horz" pos="3888">
          <p15:clr>
            <a:srgbClr val="547EBF"/>
          </p15:clr>
        </p15:guide>
        <p15:guide id="22" pos="4896">
          <p15:clr>
            <a:srgbClr val="FDE53C"/>
          </p15:clr>
        </p15:guide>
        <p15:guide id="23" pos="4320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3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3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3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3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3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3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3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1.png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3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5.png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hyperlink" Target="https://help.sap.com/doc/abapdocu_752_index_htm/7.52/en-us/abenddic_date_time_functions.htm" TargetMode="External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7.png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tools.hana.ondemand.com/#abap" TargetMode="External"/><Relationship Id="rId4" Type="http://schemas.openxmlformats.org/officeDocument/2006/relationships/hyperlink" Target="http://scn.sap.com/community/abap/eclipse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help.sap.com/doc/abapdocu_752_index_htm/7.52/en-us/abencds_f1_session_variable.htm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hyperlink" Target="https://help.sap.com/docs/SAP_S4HANA_CLOUD/c0c54048d35849128be8e872df5bea6d/5418de55938d1d22e10000000a44147b.html" TargetMode="External"/><Relationship Id="rId4" Type="http://schemas.openxmlformats.org/officeDocument/2006/relationships/hyperlink" Target="https://help.sap.com/doc/abapdocu_752_index_htm/7.52/en-us/abencds_f1_parameter.htm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5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ing.sap.com/learning-journeys/evaluating-overhead-cost-accounting-in-sap-s-4hana/getting-an-overview-of-the-virtual-data-model_fbd48178-c584-4b3d-a8c9-13143c1c75dc" TargetMode="Externa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5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3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3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3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3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3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3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3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3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3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3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3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3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3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3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3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5.png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b="1" dirty="0">
                <a:latin typeface="IBM Plex Sans" panose="020B0503050203000203" pitchFamily="34" charset="0"/>
              </a:rPr>
              <a:t>SAP CDS view</a:t>
            </a:r>
            <a:br>
              <a:rPr lang="en-US" dirty="0"/>
            </a:br>
            <a:br>
              <a:rPr lang="en-US" sz="2133" dirty="0"/>
            </a:br>
            <a:br>
              <a:rPr lang="en-US" sz="2133" dirty="0"/>
            </a:br>
            <a:r>
              <a:rPr lang="en-US" sz="2133" dirty="0">
                <a:latin typeface="IBM Plex Sans" panose="020B0503050203000203" pitchFamily="34" charset="0"/>
              </a:rPr>
              <a:t>Patrick Wu</a:t>
            </a:r>
            <a:br>
              <a:rPr lang="en-US" sz="2133" dirty="0">
                <a:latin typeface="IBM Plex Sans" panose="020B0503050203000203" pitchFamily="34" charset="0"/>
              </a:rPr>
            </a:br>
            <a:br>
              <a:rPr lang="en-US" sz="2133" dirty="0">
                <a:latin typeface="IBM Plex Sans" panose="020B0503050203000203" pitchFamily="34" charset="0"/>
              </a:rPr>
            </a:br>
            <a:r>
              <a:rPr lang="en-US" sz="2133" dirty="0">
                <a:latin typeface="IBM Plex Sans" panose="020B0503050203000203" pitchFamily="34" charset="0"/>
              </a:rPr>
              <a:t>Package Consultant-SAP HANA SCM PP</a:t>
            </a:r>
          </a:p>
        </p:txBody>
      </p:sp>
    </p:spTree>
    <p:extLst>
      <p:ext uri="{BB962C8B-B14F-4D97-AF65-F5344CB8AC3E}">
        <p14:creationId xmlns:p14="http://schemas.microsoft.com/office/powerpoint/2010/main" val="22986157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Virtual Data Models (VDM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）</a:t>
            </a: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It is an abstraction layer that provides a unified and consistent view of data without physically copying or moving it into a single databas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it pulls information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various sources 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(databases, APIs, files, cloud services, etc.) to create a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hesive view 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of data that comes from multiple, heterogeneous sources.</a:t>
            </a:r>
            <a:endParaRPr lang="zh-TW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65052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(7/9)</a:t>
            </a:r>
            <a:endParaRPr lang="en-US" altLang="zh-TW" sz="32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876014"/>
            <a:ext cx="11222736" cy="4600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AccessControl.authorizationCheck: #NOT_ALLOWED</a:t>
            </a:r>
          </a:p>
          <a:p>
            <a:pPr defTabSz="914400"/>
            <a:r>
              <a:rPr lang="en-US" altLang="zh-TW" sz="2592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llowed is the exact opposite of check</a:t>
            </a:r>
          </a:p>
          <a:p>
            <a:pPr marL="2454444" lvl="5" indent="-342900" defTabSz="914400">
              <a:buFont typeface="Wingdings" panose="05000000000000000000" pitchFamily="2" charset="2"/>
              <a:buChar char="l"/>
            </a:pPr>
            <a:endParaRPr lang="en-US" altLang="zh-TW" sz="2592" b="1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AccessControl.authorizationCheck: #NOT_REQUIRED</a:t>
            </a:r>
          </a:p>
          <a:p>
            <a:pPr lvl="4" indent="0" defTabSz="914400">
              <a:buNone/>
            </a:pPr>
            <a:endParaRPr lang="en-US" altLang="zh-TW" sz="2400" b="1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4" indent="0" defTabSz="914400">
              <a:buNone/>
            </a:pP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ere is a DCL, it will be executed. If there is no DCL, there will be no warning message.</a:t>
            </a:r>
          </a:p>
          <a:p>
            <a:pPr lvl="4" indent="0" defTabSz="914400">
              <a:buNone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914400"/>
            <a:r>
              <a:rPr lang="en-US" altLang="zh-TW" sz="24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957852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(8/9)</a:t>
            </a:r>
            <a:endParaRPr lang="en-US" altLang="zh-TW" sz="32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876014"/>
            <a:ext cx="11222736" cy="4600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AccessControl.authorizationCheck: #PRIVILEGED_ONLY</a:t>
            </a:r>
          </a:p>
          <a:p>
            <a:pPr marL="457182" lvl="4" indent="0" defTabSz="914400">
              <a:lnSpc>
                <a:spcPct val="150000"/>
              </a:lnSpc>
              <a:buNone/>
            </a:pP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annot be accessed directly and cannot be exposed to </a:t>
            </a:r>
            <a:r>
              <a:rPr lang="en-US" altLang="zh-TW" sz="2400" b="1" kern="0" dirty="0" err="1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ata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e</a:t>
            </a:r>
          </a:p>
          <a:p>
            <a:pPr defTabSz="914400"/>
            <a:r>
              <a:rPr lang="en-US" altLang="zh-TW" sz="24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de-DE" altLang="zh-TW" sz="2400" b="1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3DC1CBE6-11C6-0937-3BAC-18CDBF9DB2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9885" y="3136177"/>
            <a:ext cx="7208621" cy="33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416431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(9/9)</a:t>
            </a:r>
            <a:endParaRPr lang="en-US" altLang="zh-TW" sz="32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484632" y="1453896"/>
            <a:ext cx="11222736" cy="4600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Run  /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iwfnd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maint_service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to add 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Odata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service</a:t>
            </a: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Test with SAP gateway client</a:t>
            </a:r>
            <a:endParaRPr lang="de-DE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C9970C8-7D74-A296-39B2-F879DAE603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4119" y="2803271"/>
            <a:ext cx="9154414" cy="4324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93653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Virtual Element (1/3)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0999" y="1453896"/>
            <a:ext cx="11222735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What are the Virtual Elements and Why we use that?</a:t>
            </a:r>
            <a:b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zh-TW" sz="1800" kern="0" dirty="0">
                <a:latin typeface="Arial" panose="020B0604020202020204" pitchFamily="34" charset="0"/>
                <a:cs typeface="Arial" panose="020B0604020202020204" pitchFamily="34" charset="0"/>
              </a:rPr>
              <a:t>Sometimes when we make a report, we need calculations for fields and we </a:t>
            </a:r>
            <a:r>
              <a:rPr lang="en-US" altLang="zh-TW" sz="1800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not easily make calculations with CDS </a:t>
            </a:r>
            <a:r>
              <a:rPr lang="en-US" altLang="zh-TW" sz="1800" kern="0" dirty="0">
                <a:latin typeface="Arial" panose="020B0604020202020204" pitchFamily="34" charset="0"/>
                <a:cs typeface="Arial" panose="020B0604020202020204" pitchFamily="34" charset="0"/>
              </a:rPr>
              <a:t>so that their values </a:t>
            </a:r>
            <a:r>
              <a:rPr lang="en-US" altLang="zh-TW" sz="1800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be calculated directly on SAP HANA</a:t>
            </a:r>
            <a:r>
              <a:rPr lang="en-US" altLang="zh-TW" sz="1800" kern="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zh-TW" sz="1800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 elements represent temporary fields in applications</a:t>
            </a:r>
            <a:r>
              <a:rPr lang="en-US" altLang="zh-TW" sz="1800" kern="0" dirty="0">
                <a:latin typeface="Arial" panose="020B0604020202020204" pitchFamily="34" charset="0"/>
                <a:cs typeface="Arial" panose="020B0604020202020204" pitchFamily="34" charset="0"/>
              </a:rPr>
              <a:t>. They are defined consumption CDS view with annotations within the SELECT list. However, the field calculations display by </a:t>
            </a:r>
            <a:r>
              <a:rPr lang="en-US" altLang="zh-TW" sz="1800" kern="0" dirty="0" err="1">
                <a:latin typeface="Arial" panose="020B0604020202020204" pitchFamily="34" charset="0"/>
                <a:cs typeface="Arial" panose="020B0604020202020204" pitchFamily="34" charset="0"/>
              </a:rPr>
              <a:t>Abap</a:t>
            </a:r>
            <a:r>
              <a:rPr lang="en-US" altLang="zh-TW" sz="1800" kern="0" dirty="0">
                <a:latin typeface="Arial" panose="020B0604020202020204" pitchFamily="34" charset="0"/>
                <a:cs typeface="Arial" panose="020B0604020202020204" pitchFamily="34" charset="0"/>
              </a:rPr>
              <a:t> classes that implement the specific code exit interfaces provided for this purpose.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圓柱形 15">
            <a:extLst>
              <a:ext uri="{FF2B5EF4-FFF2-40B4-BE49-F238E27FC236}">
                <a16:creationId xmlns:a16="http://schemas.microsoft.com/office/drawing/2014/main" id="{F33F7E0F-3645-4A94-AC18-548CCA893252}"/>
              </a:ext>
            </a:extLst>
          </p:cNvPr>
          <p:cNvSpPr/>
          <p:nvPr/>
        </p:nvSpPr>
        <p:spPr bwMode="auto">
          <a:xfrm>
            <a:off x="4036593" y="5955632"/>
            <a:ext cx="1443790" cy="653715"/>
          </a:xfrm>
          <a:prstGeom prst="can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矩形: 圓角化對角角落 2">
            <a:extLst>
              <a:ext uri="{FF2B5EF4-FFF2-40B4-BE49-F238E27FC236}">
                <a16:creationId xmlns:a16="http://schemas.microsoft.com/office/drawing/2014/main" id="{E913EE35-7176-5FA4-CF02-C00A85FCF5B7}"/>
              </a:ext>
            </a:extLst>
          </p:cNvPr>
          <p:cNvSpPr/>
          <p:nvPr/>
        </p:nvSpPr>
        <p:spPr bwMode="auto">
          <a:xfrm>
            <a:off x="3645565" y="4250757"/>
            <a:ext cx="2225843" cy="866273"/>
          </a:xfrm>
          <a:prstGeom prst="round2Diag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zh-TW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DS View/Entity</a:t>
            </a:r>
            <a:endParaRPr kumimoji="0" lang="zh-TW" altLang="en-US" sz="2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4" name="箭號: 向上 3">
            <a:extLst>
              <a:ext uri="{FF2B5EF4-FFF2-40B4-BE49-F238E27FC236}">
                <a16:creationId xmlns:a16="http://schemas.microsoft.com/office/drawing/2014/main" id="{9B361ADD-9C62-E6A2-3272-27B713E30D11}"/>
              </a:ext>
            </a:extLst>
          </p:cNvPr>
          <p:cNvSpPr/>
          <p:nvPr/>
        </p:nvSpPr>
        <p:spPr bwMode="auto">
          <a:xfrm>
            <a:off x="4397540" y="5263779"/>
            <a:ext cx="721895" cy="469231"/>
          </a:xfrm>
          <a:prstGeom prst="upArrow">
            <a:avLst/>
          </a:prstGeom>
          <a:solidFill>
            <a:srgbClr val="1192E8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5" name="矩形: 圓角化對角角落 4">
            <a:extLst>
              <a:ext uri="{FF2B5EF4-FFF2-40B4-BE49-F238E27FC236}">
                <a16:creationId xmlns:a16="http://schemas.microsoft.com/office/drawing/2014/main" id="{6F6B1FE4-15E1-44E1-CCE9-007252F8E48D}"/>
              </a:ext>
            </a:extLst>
          </p:cNvPr>
          <p:cNvSpPr/>
          <p:nvPr/>
        </p:nvSpPr>
        <p:spPr bwMode="auto">
          <a:xfrm>
            <a:off x="7164262" y="3946839"/>
            <a:ext cx="2581318" cy="1366343"/>
          </a:xfrm>
          <a:prstGeom prst="round2Diag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zh-TW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BAP resource – Logical / FM / BAPI </a:t>
            </a:r>
            <a:endParaRPr kumimoji="0" lang="zh-TW" altLang="en-US" sz="2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7" name="箭號: 向左 6">
            <a:extLst>
              <a:ext uri="{FF2B5EF4-FFF2-40B4-BE49-F238E27FC236}">
                <a16:creationId xmlns:a16="http://schemas.microsoft.com/office/drawing/2014/main" id="{705A3C2D-E3F5-B1E1-3127-D05BF76C99A3}"/>
              </a:ext>
            </a:extLst>
          </p:cNvPr>
          <p:cNvSpPr/>
          <p:nvPr/>
        </p:nvSpPr>
        <p:spPr bwMode="auto">
          <a:xfrm>
            <a:off x="6051519" y="4368064"/>
            <a:ext cx="751975" cy="631658"/>
          </a:xfrm>
          <a:prstGeom prst="leftArrow">
            <a:avLst/>
          </a:prstGeom>
          <a:solidFill>
            <a:srgbClr val="FFC000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765066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Virtual Element (2/3)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0999" y="1453896"/>
            <a:ext cx="11222735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s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ObjectModel.virtualElement : true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ObjectModel.virtualElementCalculatedBy : &lt;ABAP Class Name&gt;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Odata.pub1ish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true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BAP Class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Interface : IF_SADL_EXIT_CALC_ELEMENT_READ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Methods : GET_CALCULATION_INFO &amp; CALCULATE</a:t>
            </a:r>
          </a:p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893270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Virtual Element (3/3)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0999" y="1453896"/>
            <a:ext cx="6693569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ommunication between CDS and ABAP class, inside CALCULATE method</a:t>
            </a:r>
          </a:p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矩形: 圓角化對角角落 2">
            <a:extLst>
              <a:ext uri="{FF2B5EF4-FFF2-40B4-BE49-F238E27FC236}">
                <a16:creationId xmlns:a16="http://schemas.microsoft.com/office/drawing/2014/main" id="{CBEB5A4F-7889-8570-0E22-AC754DB66FF5}"/>
              </a:ext>
            </a:extLst>
          </p:cNvPr>
          <p:cNvSpPr/>
          <p:nvPr/>
        </p:nvSpPr>
        <p:spPr bwMode="auto">
          <a:xfrm>
            <a:off x="762320" y="3027147"/>
            <a:ext cx="6196264" cy="3444158"/>
          </a:xfrm>
          <a:prstGeom prst="round2DiagRect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zh-TW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LCULATE : ITAB -&gt; CDS view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TW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zh-TW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   </a:t>
            </a:r>
            <a:r>
              <a:rPr kumimoji="0" lang="en-US" altLang="zh-TW" sz="20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T_ORIGINAL_DATA </a:t>
            </a:r>
            <a:r>
              <a:rPr kumimoji="0" lang="en-US" altLang="zh-TW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=&gt; ITAB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TW" sz="20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zh-TW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   Modify ITAB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</a:t>
            </a:r>
            <a:endParaRPr lang="en-US" altLang="zh-TW" sz="20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zh-TW" altLang="en-US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   </a:t>
            </a:r>
            <a:r>
              <a:rPr kumimoji="0" lang="en-US" altLang="zh-TW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TAB</a:t>
            </a:r>
            <a:r>
              <a:rPr kumimoji="0" lang="zh-TW" altLang="en-US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zh-TW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=&gt;</a:t>
            </a:r>
            <a:r>
              <a:rPr kumimoji="0" lang="zh-TW" altLang="en-US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zh-TW" sz="2000" b="1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T_CALCULATED_DATA</a:t>
            </a: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+mn-lt"/>
            </a:endParaRPr>
          </a:p>
        </p:txBody>
      </p:sp>
      <p:sp>
        <p:nvSpPr>
          <p:cNvPr id="4" name="想法泡泡: 雲朵 3">
            <a:extLst>
              <a:ext uri="{FF2B5EF4-FFF2-40B4-BE49-F238E27FC236}">
                <a16:creationId xmlns:a16="http://schemas.microsoft.com/office/drawing/2014/main" id="{FA85759E-3CA1-56CD-4F2C-4C5C44BBF7BB}"/>
              </a:ext>
            </a:extLst>
          </p:cNvPr>
          <p:cNvSpPr/>
          <p:nvPr/>
        </p:nvSpPr>
        <p:spPr bwMode="auto">
          <a:xfrm>
            <a:off x="6780436" y="1757732"/>
            <a:ext cx="5117432" cy="1538119"/>
          </a:xfrm>
          <a:prstGeom prst="cloudCallout">
            <a:avLst>
              <a:gd name="adj1" fmla="val -32243"/>
              <a:gd name="adj2" fmla="val 70323"/>
            </a:avLst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400" b="0" i="0" u="none" strike="noStrike" cap="none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F_SADL_EXIT_SORT_TRANSFORM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zh-TW" sz="1400" b="0" i="0" u="none" strike="noStrike" cap="none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F_SADL_EXIT_FILTER_TRANSFORM</a:t>
            </a:r>
            <a:endParaRPr kumimoji="0" lang="zh-TW" altLang="en-US" sz="1400" b="0" i="0" u="none" strike="noStrike" cap="none" normalizeH="0" baseline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8702502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xample of Virtual Element(1/4) 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0999" y="1453896"/>
            <a:ext cx="11430001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 CDS view</a:t>
            </a:r>
          </a:p>
          <a:p>
            <a:pPr defTabSz="914400">
              <a:lnSpc>
                <a:spcPct val="150000"/>
              </a:lnSpc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E3AE24E9-F045-0A2C-2CE3-FA16405452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6286" y="2120548"/>
            <a:ext cx="9319426" cy="423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13451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xample of Virtual Element(2/4) 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0" y="1453896"/>
            <a:ext cx="3637548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 and practice class</a:t>
            </a:r>
          </a:p>
          <a:p>
            <a:pPr defTabSz="914400">
              <a:lnSpc>
                <a:spcPct val="150000"/>
              </a:lnSpc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4232A87F-9236-95F4-38F3-85591187BF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787" y="3053220"/>
            <a:ext cx="4597636" cy="2108308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090D635D-18BA-1EA0-0F04-1C04A12A8D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9183" y="1124815"/>
            <a:ext cx="6189179" cy="523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583968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xample of Virtual Element(3/4) 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0" y="1453896"/>
            <a:ext cx="8582526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 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Odata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Service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，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Run /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iwfnd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maint_service</a:t>
            </a: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ct val="150000"/>
              </a:lnSpc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D2B7DA84-798B-C2AA-011F-A9A5C24AF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002" y="2442410"/>
            <a:ext cx="9811903" cy="296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27628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xample of Virtual Element(4/4) 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0" y="1453896"/>
            <a:ext cx="8582526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Evaluating in SAP gateway client</a:t>
            </a:r>
          </a:p>
          <a:p>
            <a:pPr defTabSz="914400">
              <a:lnSpc>
                <a:spcPct val="150000"/>
              </a:lnSpc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80069AFD-2DA4-B4CE-2B42-4C9EAD6BB8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132" y="2099938"/>
            <a:ext cx="10257735" cy="4377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0753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How Does a Virtual Data Model Work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Data Abstraction Lay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Data Integr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Query Execu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APIs and Endpoints : Usually </a:t>
            </a:r>
            <a:r>
              <a:rPr lang="de-DE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 via API</a:t>
            </a:r>
            <a:r>
              <a:rPr lang="de-DE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, Such as  RESTful 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zh-TW" alt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GraphQL API </a:t>
            </a:r>
            <a:endParaRPr lang="zh-TW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70400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圖片 11">
            <a:extLst>
              <a:ext uri="{FF2B5EF4-FFF2-40B4-BE49-F238E27FC236}">
                <a16:creationId xmlns:a16="http://schemas.microsoft.com/office/drawing/2014/main" id="{43F81B70-6B5E-F43D-6515-9D291B94A4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140" y="2142598"/>
            <a:ext cx="7639656" cy="2020327"/>
          </a:xfrm>
          <a:prstGeom prst="rect">
            <a:avLst/>
          </a:prstGeom>
        </p:spPr>
      </p:pic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xtend CDS View 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0" y="1453896"/>
            <a:ext cx="11430000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Extend the Standard CDS view with custom fields</a:t>
            </a:r>
          </a:p>
          <a:p>
            <a:pPr defTabSz="914400">
              <a:lnSpc>
                <a:spcPct val="150000"/>
              </a:lnSpc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34B8B164-D25E-C241-2DA1-B9392D90CE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5429" y="3582226"/>
            <a:ext cx="8185571" cy="2584583"/>
          </a:xfrm>
          <a:prstGeom prst="rect">
            <a:avLst/>
          </a:prstGeom>
        </p:spPr>
      </p:pic>
      <p:cxnSp>
        <p:nvCxnSpPr>
          <p:cNvPr id="14" name="直線單箭頭接點 13">
            <a:extLst>
              <a:ext uri="{FF2B5EF4-FFF2-40B4-BE49-F238E27FC236}">
                <a16:creationId xmlns:a16="http://schemas.microsoft.com/office/drawing/2014/main" id="{3BD466B2-1F97-57E8-1E30-B58BB5296FCC}"/>
              </a:ext>
            </a:extLst>
          </p:cNvPr>
          <p:cNvCxnSpPr/>
          <p:nvPr/>
        </p:nvCxnSpPr>
        <p:spPr bwMode="auto">
          <a:xfrm>
            <a:off x="5089358" y="3152761"/>
            <a:ext cx="733926" cy="2465986"/>
          </a:xfrm>
          <a:prstGeom prst="straightConnector1">
            <a:avLst/>
          </a:prstGeom>
          <a:ln w="19050">
            <a:solidFill>
              <a:srgbClr val="00B050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6377518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CDS View - Date Functionalities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0" y="1453896"/>
            <a:ext cx="11430000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urrent date : @Environment.systemField: #SYSTEM_DATE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With parameters addition.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It is an optional parameter and open for user input as well.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Use the parameter field for further calculation in the CDS view.</a:t>
            </a:r>
          </a:p>
          <a:p>
            <a:pPr defTabSz="914400">
              <a:lnSpc>
                <a:spcPct val="150000"/>
              </a:lnSpc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81549046-A808-E82C-E1ED-7C6114EF0C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4678" y="3526135"/>
            <a:ext cx="5195080" cy="3208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604814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CDS View - Date Functions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0" y="1453896"/>
            <a:ext cx="11430000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Date Functions and Time Functions</a:t>
            </a:r>
            <a:endParaRPr lang="en-US" altLang="zh-TW" sz="20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ct val="150000"/>
              </a:lnSpc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D197434F-470E-446C-2E41-724BA14092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842" y="2177012"/>
            <a:ext cx="10743075" cy="418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2105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AF8D9937-27F7-2C03-20E9-818595B68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772274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- Unit and Currency Conversion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9FF4363-24F4-F88A-E45E-5DA0C8728563}"/>
              </a:ext>
            </a:extLst>
          </p:cNvPr>
          <p:cNvSpPr>
            <a:spLocks noGrp="1" noChangeArrowheads="1"/>
          </p:cNvSpPr>
          <p:nvPr>
            <p:ph type="body" sz="quarter" idx="12"/>
          </p:nvPr>
        </p:nvSpPr>
        <p:spPr bwMode="auto">
          <a:xfrm>
            <a:off x="467707" y="1714500"/>
            <a:ext cx="4753998" cy="30979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571500" marR="0" lvl="0" indent="-5715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zh-TW" altLang="zh-TW" sz="3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it</a:t>
            </a:r>
            <a:r>
              <a:rPr kumimoji="0" lang="en-US" altLang="zh-TW" sz="3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zh-TW" altLang="zh-TW" sz="3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version</a:t>
            </a:r>
            <a:endParaRPr kumimoji="0" lang="en-US" altLang="zh-TW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682" lvl="3" indent="-571500" eaLnBrk="0" hangingPunct="0">
              <a:lnSpc>
                <a:spcPct val="200000"/>
              </a:lnSpc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de-DE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r>
              <a:rPr kumimoji="0" lang="zh-TW" altLang="zh-TW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antity</a:t>
            </a:r>
            <a:endParaRPr kumimoji="0" lang="en-US" altLang="zh-TW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682" lvl="3" indent="-571500" eaLnBrk="0" hangingPunct="0">
              <a:lnSpc>
                <a:spcPct val="200000"/>
              </a:lnSpc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de-DE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kumimoji="0" lang="zh-TW" altLang="zh-TW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urce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_</a:t>
            </a:r>
            <a:r>
              <a:rPr kumimoji="0" lang="zh-TW" altLang="zh-TW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it</a:t>
            </a:r>
            <a:endParaRPr kumimoji="0" lang="en-US" altLang="zh-TW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682" lvl="3" indent="-571500" eaLnBrk="0" hangingPunct="0">
              <a:lnSpc>
                <a:spcPct val="200000"/>
              </a:lnSpc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kumimoji="0" lang="zh-TW" altLang="zh-TW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arget_unit 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650F93B2-520E-E028-AB13-8D892DCD87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67137" y="1714500"/>
            <a:ext cx="5311461" cy="3959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571500" indent="-571500" defTabSz="914400" ea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 typeface="Arial" panose="020B0604020202020204" pitchFamily="34" charset="0"/>
              <a:buChar char="•"/>
            </a:pPr>
            <a:r>
              <a:rPr lang="en-US" altLang="zh-TW" sz="3600" kern="0" dirty="0">
                <a:latin typeface="Arial" panose="020B0604020202020204" pitchFamily="34" charset="0"/>
                <a:cs typeface="Arial" panose="020B0604020202020204" pitchFamily="34" charset="0"/>
              </a:rPr>
              <a:t>Currency </a:t>
            </a:r>
            <a:r>
              <a:rPr lang="zh-TW" altLang="zh-TW" sz="3600" kern="0" dirty="0">
                <a:latin typeface="Arial" panose="020B0604020202020204" pitchFamily="34" charset="0"/>
                <a:cs typeface="Arial" panose="020B0604020202020204" pitchFamily="34" charset="0"/>
              </a:rPr>
              <a:t>Conversion</a:t>
            </a:r>
            <a:endParaRPr lang="en-US" altLang="zh-TW" sz="36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682" lvl="3" indent="-571500" defTabSz="914400" eaLnBrk="0" hangingPunct="0">
              <a:lnSpc>
                <a:spcPct val="200000"/>
              </a:lnSpc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en-US" altLang="zh-TW" sz="2800" kern="0" dirty="0">
                <a:latin typeface="Arial" panose="020B0604020202020204" pitchFamily="34" charset="0"/>
                <a:cs typeface="Arial" panose="020B0604020202020204" pitchFamily="34" charset="0"/>
              </a:rPr>
              <a:t>amount</a:t>
            </a:r>
          </a:p>
          <a:p>
            <a:pPr marL="1028682" lvl="3" indent="-571500" defTabSz="914400" eaLnBrk="0" hangingPunct="0">
              <a:lnSpc>
                <a:spcPct val="200000"/>
              </a:lnSpc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de-DE" altLang="zh-TW" sz="2800" kern="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zh-TW" altLang="zh-TW" sz="2800" kern="0" dirty="0">
                <a:latin typeface="Arial" panose="020B0604020202020204" pitchFamily="34" charset="0"/>
                <a:cs typeface="Arial" panose="020B0604020202020204" pitchFamily="34" charset="0"/>
              </a:rPr>
              <a:t>ource</a:t>
            </a:r>
            <a:r>
              <a:rPr lang="en-US" altLang="zh-TW" sz="2800" kern="0" dirty="0">
                <a:latin typeface="Arial" panose="020B0604020202020204" pitchFamily="34" charset="0"/>
                <a:cs typeface="Arial" panose="020B0604020202020204" pitchFamily="34" charset="0"/>
              </a:rPr>
              <a:t>_currency</a:t>
            </a:r>
          </a:p>
          <a:p>
            <a:pPr marL="1028682" lvl="3" indent="-571500" defTabSz="914400" eaLnBrk="0" hangingPunct="0">
              <a:lnSpc>
                <a:spcPct val="200000"/>
              </a:lnSpc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zh-TW" altLang="zh-TW" sz="2800" kern="0" dirty="0">
                <a:latin typeface="Arial" panose="020B0604020202020204" pitchFamily="34" charset="0"/>
                <a:cs typeface="Arial" panose="020B0604020202020204" pitchFamily="34" charset="0"/>
              </a:rPr>
              <a:t>target_</a:t>
            </a:r>
            <a:r>
              <a:rPr lang="en-US" altLang="zh-TW" sz="2800" kern="0" dirty="0">
                <a:latin typeface="Arial" panose="020B0604020202020204" pitchFamily="34" charset="0"/>
                <a:cs typeface="Arial" panose="020B0604020202020204" pitchFamily="34" charset="0"/>
              </a:rPr>
              <a:t>currency</a:t>
            </a:r>
          </a:p>
          <a:p>
            <a:pPr marL="1028682" lvl="3" indent="-571500" defTabSz="914400" eaLnBrk="0" hangingPunct="0">
              <a:lnSpc>
                <a:spcPct val="200000"/>
              </a:lnSpc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en-US" altLang="zh-TW" sz="2800" kern="0" dirty="0" err="1">
                <a:latin typeface="Arial" panose="020B0604020202020204" pitchFamily="34" charset="0"/>
                <a:cs typeface="Arial" panose="020B0604020202020204" pitchFamily="34" charset="0"/>
              </a:rPr>
              <a:t>Exchange_rate_date</a:t>
            </a:r>
            <a:r>
              <a:rPr lang="zh-TW" altLang="zh-TW" sz="28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7935133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AF8D9937-27F7-2C03-20E9-818595B68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0772274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Example of Unit and Currency Conversion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DCAFFCBD-9A65-5EFC-73AF-70BF76CCC1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0045" y="1453896"/>
            <a:ext cx="9265725" cy="502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399526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6">
            <a:extLst>
              <a:ext uri="{FF2B5EF4-FFF2-40B4-BE49-F238E27FC236}">
                <a16:creationId xmlns:a16="http://schemas.microsoft.com/office/drawing/2014/main" id="{929CE357-2B21-84BD-D72B-BEB3A9E5F9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210" y="2773279"/>
            <a:ext cx="5935580" cy="1311442"/>
          </a:xfrm>
        </p:spPr>
        <p:txBody>
          <a:bodyPr/>
          <a:lstStyle/>
          <a:p>
            <a:r>
              <a:rPr lang="en-US" altLang="zh-TW" sz="9600" b="1" dirty="0">
                <a:latin typeface="IBM Plex Sans" panose="020B0503050203000203" pitchFamily="34" charset="0"/>
              </a:rPr>
              <a:t>Thank you</a:t>
            </a:r>
            <a:endParaRPr lang="zh-TW" altLang="en-US" sz="9600" b="1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5700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Advantages of a Virtual Data Model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Data Consistency and Integr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Reduced Data Redundanc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Real-Time Data Acces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Scalabi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Flexibility</a:t>
            </a:r>
            <a:endParaRPr lang="zh-TW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4529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5531285" cy="1219200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Example: CDS view from heterogeneous sources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1249" y="1999751"/>
            <a:ext cx="4797469" cy="4627562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3200" b="1" dirty="0"/>
              <a:t>Scenario</a:t>
            </a:r>
          </a:p>
          <a:p>
            <a:pPr marL="457182" lvl="4" indent="0">
              <a:buNone/>
            </a:pPr>
            <a:r>
              <a:rPr lang="en-US" altLang="zh-TW" sz="2000" dirty="0"/>
              <a:t>Imagine you have an SAP system that needs to pull data about </a:t>
            </a:r>
            <a:r>
              <a:rPr lang="en-US" altLang="zh-TW" sz="2000" b="1" dirty="0"/>
              <a:t>Sales Orders</a:t>
            </a:r>
            <a:r>
              <a:rPr lang="en-US" altLang="zh-TW" sz="2000" dirty="0"/>
              <a:t> from two different systems:</a:t>
            </a:r>
          </a:p>
          <a:p>
            <a:pPr>
              <a:buFont typeface="+mj-lt"/>
              <a:buAutoNum type="arabicPeriod"/>
            </a:pPr>
            <a:r>
              <a:rPr lang="en-US" altLang="zh-TW" sz="2000" b="1" dirty="0"/>
              <a:t>System A</a:t>
            </a:r>
            <a:r>
              <a:rPr lang="en-US" altLang="zh-TW" sz="2000" dirty="0"/>
              <a:t>: An on-premises ERP database containing sales orders and customer information.</a:t>
            </a:r>
          </a:p>
          <a:p>
            <a:pPr>
              <a:buFont typeface="+mj-lt"/>
              <a:buAutoNum type="arabicPeriod"/>
            </a:pPr>
            <a:r>
              <a:rPr lang="en-US" altLang="zh-TW" sz="2000" b="1" dirty="0"/>
              <a:t>System B</a:t>
            </a:r>
            <a:r>
              <a:rPr lang="en-US" altLang="zh-TW" sz="2000" dirty="0"/>
              <a:t>: A cloud-based CRM that stores customer feedback and interaction logs.</a:t>
            </a: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B001A6D5-7F38-8202-9658-0CBF84CE88DA}"/>
              </a:ext>
            </a:extLst>
          </p:cNvPr>
          <p:cNvSpPr txBox="1"/>
          <p:nvPr/>
        </p:nvSpPr>
        <p:spPr>
          <a:xfrm>
            <a:off x="6096000" y="380999"/>
            <a:ext cx="5631493" cy="62463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@AbapCatalog.sqlViewName: 'ZC_SALES_CUST_DATA'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@AbapCatalog.compiler.compareFilter: true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@AccessControl.authorizationCheck: #NOT_REQUIRED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@EndUserText.label: 'Sales Order and Customer Data from Multiple Sources'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define view ZC_Sales_Customer_Data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 as </a:t>
            </a:r>
            <a:r>
              <a:rPr lang="de-DE" altLang="zh-TW" sz="1400" b="1" dirty="0">
                <a:solidFill>
                  <a:srgbClr val="0033CC"/>
                </a:solidFill>
                <a:latin typeface="+mn-lt"/>
                <a:ea typeface="IBM Plex Sans" charset="0"/>
                <a:cs typeface="IBM Plex Sans" charset="0"/>
              </a:rPr>
              <a:t>select from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b="1" dirty="0">
                <a:solidFill>
                  <a:srgbClr val="0033CC"/>
                </a:solidFill>
                <a:latin typeface="+mn-lt"/>
                <a:ea typeface="IBM Plex Sans" charset="0"/>
                <a:cs typeface="IBM Plex Sans" charset="0"/>
              </a:rPr>
              <a:t>    ZSalesOrder as SalesOrder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b="1" dirty="0">
                <a:solidFill>
                  <a:srgbClr val="0033CC"/>
                </a:solidFill>
                <a:latin typeface="+mn-lt"/>
                <a:ea typeface="IBM Plex Sans" charset="0"/>
                <a:cs typeface="IBM Plex Sans" charset="0"/>
              </a:rPr>
              <a:t>    left outer join ZCustomerInteractions as CustomerInteraction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b="1" dirty="0">
                <a:solidFill>
                  <a:srgbClr val="0033CC"/>
                </a:solidFill>
                <a:latin typeface="+mn-lt"/>
                <a:ea typeface="IBM Plex Sans" charset="0"/>
                <a:cs typeface="IBM Plex Sans" charset="0"/>
              </a:rPr>
              <a:t>      on SalesOrder.CustomerID = CustomerInteraction.CustomerID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{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b="1" dirty="0">
                <a:solidFill>
                  <a:srgbClr val="0033CC"/>
                </a:solidFill>
                <a:latin typeface="+mn-lt"/>
                <a:ea typeface="IBM Plex Sans" charset="0"/>
                <a:cs typeface="IBM Plex Sans" charset="0"/>
              </a:rPr>
              <a:t>    // Fields from System A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   SalesOrder.SalesOrderID,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   SalesOrder.CustomerID,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   SalesOrder.OrderDate,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   SalesOrder.TotalAmount,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endParaRPr lang="de-DE" altLang="zh-TW" sz="14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b="1" dirty="0">
                <a:solidFill>
                  <a:srgbClr val="0033CC"/>
                </a:solidFill>
                <a:latin typeface="+mn-lt"/>
                <a:ea typeface="IBM Plex Sans" charset="0"/>
                <a:cs typeface="IBM Plex Sans" charset="0"/>
              </a:rPr>
              <a:t>    // Fields from System B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   CustomerInteraction.InteractionDate,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   CustomerInteraction.InteractionType,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   CustomerInteraction.Comments</a:t>
            </a:r>
          </a:p>
          <a:p>
            <a:pPr algn="l">
              <a:lnSpc>
                <a:spcPct val="110000"/>
              </a:lnSpc>
              <a:spcBef>
                <a:spcPts val="400"/>
              </a:spcBef>
            </a:pPr>
            <a:r>
              <a:rPr lang="de-DE" altLang="zh-TW" sz="14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}</a:t>
            </a:r>
            <a:endParaRPr lang="zh-TW" altLang="en-US" sz="1400" dirty="0" err="1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3104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Types of CDS Views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altLang="zh-TW" sz="3200" b="1" dirty="0">
                <a:latin typeface="Arial" panose="020B0604020202020204" pitchFamily="34" charset="0"/>
                <a:cs typeface="Arial" panose="020B0604020202020204" pitchFamily="34" charset="0"/>
              </a:rPr>
              <a:t>HANA CDS View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3200" b="1" dirty="0">
                <a:latin typeface="Arial" panose="020B0604020202020204" pitchFamily="34" charset="0"/>
                <a:cs typeface="Arial" panose="020B0604020202020204" pitchFamily="34" charset="0"/>
              </a:rPr>
              <a:t>ABAP CDS Views</a:t>
            </a:r>
          </a:p>
        </p:txBody>
      </p:sp>
    </p:spTree>
    <p:extLst>
      <p:ext uri="{BB962C8B-B14F-4D97-AF65-F5344CB8AC3E}">
        <p14:creationId xmlns:p14="http://schemas.microsoft.com/office/powerpoint/2010/main" val="28708620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Advantages of CDS Views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CDS Views can be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sed as an OData Service 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for accessing and extracting SAP data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CDS Views are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 independent 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and are comparable to Open SQL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CDS views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open SQL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 and they can be called in the same way as an SE11 view to the application layer.</a:t>
            </a:r>
          </a:p>
        </p:txBody>
      </p:sp>
    </p:spTree>
    <p:extLst>
      <p:ext uri="{BB962C8B-B14F-4D97-AF65-F5344CB8AC3E}">
        <p14:creationId xmlns:p14="http://schemas.microsoft.com/office/powerpoint/2010/main" val="12476243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群組 9">
            <a:extLst>
              <a:ext uri="{FF2B5EF4-FFF2-40B4-BE49-F238E27FC236}">
                <a16:creationId xmlns:a16="http://schemas.microsoft.com/office/drawing/2014/main" id="{D9CE8BEC-5201-1AB1-269E-DE9414D61794}"/>
              </a:ext>
            </a:extLst>
          </p:cNvPr>
          <p:cNvGrpSpPr/>
          <p:nvPr/>
        </p:nvGrpSpPr>
        <p:grpSpPr>
          <a:xfrm>
            <a:off x="4911125" y="1389590"/>
            <a:ext cx="8917459" cy="4956644"/>
            <a:chOff x="3274541" y="1087395"/>
            <a:chExt cx="8917459" cy="4956644"/>
          </a:xfrm>
        </p:grpSpPr>
        <p:pic>
          <p:nvPicPr>
            <p:cNvPr id="8" name="圖片 7">
              <a:extLst>
                <a:ext uri="{FF2B5EF4-FFF2-40B4-BE49-F238E27FC236}">
                  <a16:creationId xmlns:a16="http://schemas.microsoft.com/office/drawing/2014/main" id="{F77928A3-BDF4-97AA-93B4-2AF7CA2C1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88842" y="1135237"/>
              <a:ext cx="8903158" cy="4908802"/>
            </a:xfrm>
            <a:prstGeom prst="rect">
              <a:avLst/>
            </a:prstGeom>
          </p:spPr>
        </p:pic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9F8BB459-F77F-AAE3-D1B5-14B2BC9854CC}"/>
                </a:ext>
              </a:extLst>
            </p:cNvPr>
            <p:cNvSpPr/>
            <p:nvPr/>
          </p:nvSpPr>
          <p:spPr bwMode="auto">
            <a:xfrm>
              <a:off x="3274541" y="1087395"/>
              <a:ext cx="3472248" cy="4942702"/>
            </a:xfrm>
            <a:prstGeom prst="rect">
              <a:avLst/>
            </a:prstGeom>
            <a:solidFill>
              <a:schemeClr val="bg1">
                <a:alpha val="76000"/>
              </a:schemeClr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zh-TW" alt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s – Platform for Practice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4326925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HANA System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HANA Studio or </a:t>
            </a:r>
            <a:r>
              <a:rPr lang="en-US" altLang="zh-TW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Eclipes</a:t>
            </a: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Above tools has ADT included.</a:t>
            </a:r>
          </a:p>
          <a:p>
            <a:r>
              <a:rPr lang="en-US" altLang="zh-TW" sz="2400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Get to know ABAP in Eclipse-</a:t>
            </a:r>
            <a:r>
              <a:rPr lang="en-US" altLang="zh-TW" sz="2400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  <a:hlinkClick r:id="rId4"/>
              </a:rPr>
              <a:t>Community</a:t>
            </a:r>
            <a:r>
              <a:rPr lang="en-US" altLang="zh-TW" sz="2400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 and find out more.</a:t>
            </a:r>
          </a:p>
          <a:p>
            <a:r>
              <a:rPr lang="en-US" altLang="zh-TW" sz="2400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</a:rPr>
              <a:t>Download ABAP Development Tools </a:t>
            </a:r>
            <a:r>
              <a:rPr lang="en-US" altLang="zh-TW" sz="2400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Calibri" panose="020F0502020204030204" pitchFamily="34" charset="0"/>
                <a:hlinkClick r:id="rId5"/>
              </a:rPr>
              <a:t>here.</a:t>
            </a:r>
            <a:endParaRPr lang="en-US" altLang="zh-TW" sz="2400" dirty="0">
              <a:solidFill>
                <a:srgbClr val="333333"/>
              </a:solidFill>
              <a:effectLst/>
              <a:highlight>
                <a:srgbClr val="FFFFFF"/>
              </a:highlight>
              <a:latin typeface="Calibri" panose="020F0502020204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75820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33586" y="802818"/>
            <a:ext cx="3518956" cy="867423"/>
          </a:xfrm>
          <a:prstGeom prst="rect">
            <a:avLst/>
          </a:prstGeom>
        </p:spPr>
        <p:txBody>
          <a:bodyPr lIns="121920" tIns="60960" rIns="121920" bIns="60960" anchor="ctr"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7200" b="1" dirty="0">
                <a:latin typeface="IBM Plex Sans" panose="020B0503050203000203" pitchFamily="34" charset="0"/>
                <a:ea typeface="微軟正黑體" panose="020B0604030504040204" pitchFamily="34" charset="-120"/>
                <a:cs typeface="Arial" pitchFamily="34" charset="0"/>
              </a:rPr>
              <a:t>Agenda</a:t>
            </a:r>
            <a:r>
              <a:rPr lang="en-US" sz="7200" dirty="0">
                <a:cs typeface="Arial" pitchFamily="34" charset="0"/>
              </a:rPr>
              <a:t> </a:t>
            </a:r>
          </a:p>
        </p:txBody>
      </p:sp>
      <p:grpSp>
        <p:nvGrpSpPr>
          <p:cNvPr id="2" name="群組 1"/>
          <p:cNvGrpSpPr/>
          <p:nvPr/>
        </p:nvGrpSpPr>
        <p:grpSpPr>
          <a:xfrm>
            <a:off x="3796648" y="947145"/>
            <a:ext cx="7430921" cy="739243"/>
            <a:chOff x="4550094" y="502920"/>
            <a:chExt cx="8917105" cy="887092"/>
          </a:xfrm>
        </p:grpSpPr>
        <p:sp>
          <p:nvSpPr>
            <p:cNvPr id="7" name="Rectangle 6"/>
            <p:cNvSpPr/>
            <p:nvPr/>
          </p:nvSpPr>
          <p:spPr>
            <a:xfrm>
              <a:off x="4595813" y="610962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8" name="Right Triangle 7"/>
            <p:cNvSpPr/>
            <p:nvPr/>
          </p:nvSpPr>
          <p:spPr>
            <a:xfrm rot="5400000">
              <a:off x="4624137" y="612986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550094" y="502920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1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3" name="TextBox 21"/>
            <p:cNvSpPr txBox="1"/>
            <p:nvPr/>
          </p:nvSpPr>
          <p:spPr>
            <a:xfrm>
              <a:off x="5680669" y="763683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de-DE" altLang="zh-CN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DS Views Introduction</a:t>
              </a:r>
              <a:endParaRPr lang="en-US" altLang="zh-CN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6" name="群組 5"/>
          <p:cNvGrpSpPr/>
          <p:nvPr/>
        </p:nvGrpSpPr>
        <p:grpSpPr>
          <a:xfrm>
            <a:off x="3796648" y="1765103"/>
            <a:ext cx="7430920" cy="739243"/>
            <a:chOff x="4560699" y="1563083"/>
            <a:chExt cx="8917104" cy="887092"/>
          </a:xfrm>
        </p:grpSpPr>
        <p:sp>
          <p:nvSpPr>
            <p:cNvPr id="33" name="Rectangle 6"/>
            <p:cNvSpPr/>
            <p:nvPr/>
          </p:nvSpPr>
          <p:spPr>
            <a:xfrm>
              <a:off x="4606417" y="1671125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4" name="Right Triangle 7"/>
            <p:cNvSpPr/>
            <p:nvPr/>
          </p:nvSpPr>
          <p:spPr>
            <a:xfrm rot="5400000">
              <a:off x="4634742" y="167315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5" name="TextBox 15"/>
            <p:cNvSpPr txBox="1"/>
            <p:nvPr/>
          </p:nvSpPr>
          <p:spPr>
            <a:xfrm>
              <a:off x="4560699" y="1563083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2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4" name="TextBox 21"/>
            <p:cNvSpPr txBox="1"/>
            <p:nvPr/>
          </p:nvSpPr>
          <p:spPr>
            <a:xfrm>
              <a:off x="5706515" y="1827058"/>
              <a:ext cx="7510384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reate CDS View</a:t>
              </a:r>
              <a:endParaRPr lang="ko-KR" altLang="en-US" sz="2333" b="1" dirty="0"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9" name="群組 8"/>
          <p:cNvGrpSpPr/>
          <p:nvPr/>
        </p:nvGrpSpPr>
        <p:grpSpPr>
          <a:xfrm>
            <a:off x="3796647" y="2728579"/>
            <a:ext cx="7430921" cy="739244"/>
            <a:chOff x="4555977" y="2634558"/>
            <a:chExt cx="8917105" cy="887093"/>
          </a:xfrm>
        </p:grpSpPr>
        <p:sp>
          <p:nvSpPr>
            <p:cNvPr id="39" name="Rectangle 6"/>
            <p:cNvSpPr/>
            <p:nvPr/>
          </p:nvSpPr>
          <p:spPr>
            <a:xfrm>
              <a:off x="4601696" y="274260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0" name="Right Triangle 7"/>
            <p:cNvSpPr/>
            <p:nvPr/>
          </p:nvSpPr>
          <p:spPr>
            <a:xfrm rot="5400000">
              <a:off x="4630020" y="274462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1" name="TextBox 15"/>
            <p:cNvSpPr txBox="1"/>
            <p:nvPr/>
          </p:nvSpPr>
          <p:spPr>
            <a:xfrm>
              <a:off x="4555977" y="2634558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3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5" name="TextBox 21"/>
            <p:cNvSpPr txBox="1"/>
            <p:nvPr/>
          </p:nvSpPr>
          <p:spPr>
            <a:xfrm>
              <a:off x="5701795" y="2845316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ardinality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10" name="群組 9"/>
          <p:cNvGrpSpPr/>
          <p:nvPr/>
        </p:nvGrpSpPr>
        <p:grpSpPr>
          <a:xfrm>
            <a:off x="3796648" y="3585257"/>
            <a:ext cx="7430921" cy="739243"/>
            <a:chOff x="4557382" y="3682075"/>
            <a:chExt cx="8917105" cy="887092"/>
          </a:xfrm>
        </p:grpSpPr>
        <p:sp>
          <p:nvSpPr>
            <p:cNvPr id="45" name="Rectangle 6"/>
            <p:cNvSpPr/>
            <p:nvPr/>
          </p:nvSpPr>
          <p:spPr>
            <a:xfrm>
              <a:off x="4603101" y="3790117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6" name="Right Triangle 7"/>
            <p:cNvSpPr/>
            <p:nvPr/>
          </p:nvSpPr>
          <p:spPr>
            <a:xfrm rot="5400000">
              <a:off x="4631425" y="3792142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7" name="TextBox 15"/>
            <p:cNvSpPr txBox="1"/>
            <p:nvPr/>
          </p:nvSpPr>
          <p:spPr>
            <a:xfrm>
              <a:off x="4557382" y="3682075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4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6" name="TextBox 21"/>
            <p:cNvSpPr txBox="1"/>
            <p:nvPr/>
          </p:nvSpPr>
          <p:spPr>
            <a:xfrm>
              <a:off x="5703198" y="3892831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Table function</a:t>
              </a:r>
            </a:p>
          </p:txBody>
        </p:sp>
      </p:grpSp>
      <p:grpSp>
        <p:nvGrpSpPr>
          <p:cNvPr id="11" name="群組 10"/>
          <p:cNvGrpSpPr/>
          <p:nvPr/>
        </p:nvGrpSpPr>
        <p:grpSpPr>
          <a:xfrm>
            <a:off x="3796648" y="4355109"/>
            <a:ext cx="7430921" cy="739243"/>
            <a:chOff x="4550094" y="4723989"/>
            <a:chExt cx="8917105" cy="887092"/>
          </a:xfrm>
        </p:grpSpPr>
        <p:sp>
          <p:nvSpPr>
            <p:cNvPr id="51" name="Rectangle 6"/>
            <p:cNvSpPr/>
            <p:nvPr/>
          </p:nvSpPr>
          <p:spPr>
            <a:xfrm>
              <a:off x="4595813" y="483203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2" name="Right Triangle 7"/>
            <p:cNvSpPr/>
            <p:nvPr/>
          </p:nvSpPr>
          <p:spPr>
            <a:xfrm rot="5400000">
              <a:off x="4624137" y="483405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3" name="TextBox 15"/>
            <p:cNvSpPr txBox="1"/>
            <p:nvPr/>
          </p:nvSpPr>
          <p:spPr>
            <a:xfrm>
              <a:off x="4550094" y="4723989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5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7" name="TextBox 21"/>
            <p:cNvSpPr txBox="1"/>
            <p:nvPr/>
          </p:nvSpPr>
          <p:spPr>
            <a:xfrm>
              <a:off x="5695910" y="4934747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VDM type and data category</a:t>
              </a:r>
            </a:p>
          </p:txBody>
        </p:sp>
      </p:grpSp>
      <p:grpSp>
        <p:nvGrpSpPr>
          <p:cNvPr id="12" name="群組 11"/>
          <p:cNvGrpSpPr/>
          <p:nvPr/>
        </p:nvGrpSpPr>
        <p:grpSpPr>
          <a:xfrm>
            <a:off x="3796648" y="5287127"/>
            <a:ext cx="7430920" cy="739243"/>
            <a:chOff x="4536179" y="5760904"/>
            <a:chExt cx="8917104" cy="887092"/>
          </a:xfrm>
        </p:grpSpPr>
        <p:sp>
          <p:nvSpPr>
            <p:cNvPr id="57" name="Rectangle 6"/>
            <p:cNvSpPr/>
            <p:nvPr/>
          </p:nvSpPr>
          <p:spPr>
            <a:xfrm>
              <a:off x="4581897" y="5868946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8" name="Right Triangle 7"/>
            <p:cNvSpPr/>
            <p:nvPr/>
          </p:nvSpPr>
          <p:spPr>
            <a:xfrm rot="5400000">
              <a:off x="4610222" y="587097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9" name="TextBox 15"/>
            <p:cNvSpPr txBox="1"/>
            <p:nvPr/>
          </p:nvSpPr>
          <p:spPr>
            <a:xfrm>
              <a:off x="4536179" y="5760904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6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8" name="TextBox 21"/>
            <p:cNvSpPr txBox="1"/>
            <p:nvPr/>
          </p:nvSpPr>
          <p:spPr>
            <a:xfrm>
              <a:off x="5681995" y="5971660"/>
              <a:ext cx="7510384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Anno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24773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s – Creating via Eclipse(1/5)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New other ABAP Repository Object in Pack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22B47D1A-F96A-748E-0C71-852F7D73E8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440683"/>
            <a:ext cx="8326307" cy="2694988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E7B3B110-684D-B6BE-A0FF-DA0BFC6993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6482" y="2814959"/>
            <a:ext cx="4330923" cy="32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291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s – Creating via Eclipse(2/5)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3451963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New Data Definition under Core Data Servi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0916C67A-CA0D-943E-9DDC-C8653104EC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0421" y="1247140"/>
            <a:ext cx="7093315" cy="4934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3754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33586" y="802818"/>
            <a:ext cx="3518956" cy="867423"/>
          </a:xfrm>
          <a:prstGeom prst="rect">
            <a:avLst/>
          </a:prstGeom>
        </p:spPr>
        <p:txBody>
          <a:bodyPr lIns="121920" tIns="60960" rIns="121920" bIns="60960" anchor="ctr"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7200" b="1" dirty="0">
                <a:latin typeface="IBM Plex Sans" panose="020B0503050203000203" pitchFamily="34" charset="0"/>
                <a:ea typeface="微軟正黑體" panose="020B0604030504040204" pitchFamily="34" charset="-120"/>
                <a:cs typeface="Arial" pitchFamily="34" charset="0"/>
              </a:rPr>
              <a:t>Agenda</a:t>
            </a:r>
            <a:r>
              <a:rPr lang="en-US" sz="7200" dirty="0">
                <a:cs typeface="Arial" pitchFamily="34" charset="0"/>
              </a:rPr>
              <a:t> </a:t>
            </a:r>
          </a:p>
        </p:txBody>
      </p:sp>
      <p:grpSp>
        <p:nvGrpSpPr>
          <p:cNvPr id="2" name="群組 1"/>
          <p:cNvGrpSpPr/>
          <p:nvPr/>
        </p:nvGrpSpPr>
        <p:grpSpPr>
          <a:xfrm>
            <a:off x="3796648" y="947145"/>
            <a:ext cx="7430921" cy="739243"/>
            <a:chOff x="4550094" y="502920"/>
            <a:chExt cx="8917105" cy="887092"/>
          </a:xfrm>
        </p:grpSpPr>
        <p:sp>
          <p:nvSpPr>
            <p:cNvPr id="7" name="Rectangle 6"/>
            <p:cNvSpPr/>
            <p:nvPr/>
          </p:nvSpPr>
          <p:spPr>
            <a:xfrm>
              <a:off x="4595813" y="610962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8" name="Right Triangle 7"/>
            <p:cNvSpPr/>
            <p:nvPr/>
          </p:nvSpPr>
          <p:spPr>
            <a:xfrm rot="5400000">
              <a:off x="4624137" y="612986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550094" y="502920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1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3" name="TextBox 21"/>
            <p:cNvSpPr txBox="1"/>
            <p:nvPr/>
          </p:nvSpPr>
          <p:spPr>
            <a:xfrm>
              <a:off x="5680669" y="763683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de-DE" altLang="zh-CN" sz="2333" b="1" dirty="0"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DS Views Introduction</a:t>
              </a:r>
              <a:endParaRPr lang="en-US" altLang="zh-CN" sz="2333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6" name="群組 5"/>
          <p:cNvGrpSpPr/>
          <p:nvPr/>
        </p:nvGrpSpPr>
        <p:grpSpPr>
          <a:xfrm>
            <a:off x="3796648" y="1765103"/>
            <a:ext cx="7430920" cy="739243"/>
            <a:chOff x="4560699" y="1563083"/>
            <a:chExt cx="8917104" cy="887092"/>
          </a:xfrm>
        </p:grpSpPr>
        <p:sp>
          <p:nvSpPr>
            <p:cNvPr id="33" name="Rectangle 6"/>
            <p:cNvSpPr/>
            <p:nvPr/>
          </p:nvSpPr>
          <p:spPr>
            <a:xfrm>
              <a:off x="4606417" y="1671125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4" name="Right Triangle 7"/>
            <p:cNvSpPr/>
            <p:nvPr/>
          </p:nvSpPr>
          <p:spPr>
            <a:xfrm rot="5400000">
              <a:off x="4634742" y="167315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5" name="TextBox 15"/>
            <p:cNvSpPr txBox="1"/>
            <p:nvPr/>
          </p:nvSpPr>
          <p:spPr>
            <a:xfrm>
              <a:off x="4560699" y="1563083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2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4" name="TextBox 21"/>
            <p:cNvSpPr txBox="1"/>
            <p:nvPr/>
          </p:nvSpPr>
          <p:spPr>
            <a:xfrm>
              <a:off x="5706515" y="1827058"/>
              <a:ext cx="7510384" cy="486777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reate CDS View</a:t>
              </a:r>
              <a:endParaRPr lang="ko-KR" altLang="en-US" sz="2333" b="1" dirty="0"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9" name="群組 8"/>
          <p:cNvGrpSpPr/>
          <p:nvPr/>
        </p:nvGrpSpPr>
        <p:grpSpPr>
          <a:xfrm>
            <a:off x="3796647" y="2728579"/>
            <a:ext cx="7430921" cy="739244"/>
            <a:chOff x="4555977" y="2634558"/>
            <a:chExt cx="8917105" cy="887093"/>
          </a:xfrm>
        </p:grpSpPr>
        <p:sp>
          <p:nvSpPr>
            <p:cNvPr id="39" name="Rectangle 6"/>
            <p:cNvSpPr/>
            <p:nvPr/>
          </p:nvSpPr>
          <p:spPr>
            <a:xfrm>
              <a:off x="4601696" y="274260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0" name="Right Triangle 7"/>
            <p:cNvSpPr/>
            <p:nvPr/>
          </p:nvSpPr>
          <p:spPr>
            <a:xfrm rot="5400000">
              <a:off x="4630020" y="274462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1" name="TextBox 15"/>
            <p:cNvSpPr txBox="1"/>
            <p:nvPr/>
          </p:nvSpPr>
          <p:spPr>
            <a:xfrm>
              <a:off x="4555977" y="2634558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3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5" name="TextBox 21"/>
            <p:cNvSpPr txBox="1"/>
            <p:nvPr/>
          </p:nvSpPr>
          <p:spPr>
            <a:xfrm>
              <a:off x="5701795" y="2845316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ardinality</a:t>
              </a:r>
              <a:endParaRPr lang="ko-KR" altLang="en-US" sz="2333" b="1" dirty="0"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10" name="群組 9"/>
          <p:cNvGrpSpPr/>
          <p:nvPr/>
        </p:nvGrpSpPr>
        <p:grpSpPr>
          <a:xfrm>
            <a:off x="3796648" y="3585257"/>
            <a:ext cx="7430921" cy="739243"/>
            <a:chOff x="4557382" y="3682075"/>
            <a:chExt cx="8917105" cy="887092"/>
          </a:xfrm>
        </p:grpSpPr>
        <p:sp>
          <p:nvSpPr>
            <p:cNvPr id="45" name="Rectangle 6"/>
            <p:cNvSpPr/>
            <p:nvPr/>
          </p:nvSpPr>
          <p:spPr>
            <a:xfrm>
              <a:off x="4603101" y="3790117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6" name="Right Triangle 7"/>
            <p:cNvSpPr/>
            <p:nvPr/>
          </p:nvSpPr>
          <p:spPr>
            <a:xfrm rot="5400000">
              <a:off x="4631425" y="3792142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7" name="TextBox 15"/>
            <p:cNvSpPr txBox="1"/>
            <p:nvPr/>
          </p:nvSpPr>
          <p:spPr>
            <a:xfrm>
              <a:off x="4557382" y="3682075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4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6" name="TextBox 21"/>
            <p:cNvSpPr txBox="1"/>
            <p:nvPr/>
          </p:nvSpPr>
          <p:spPr>
            <a:xfrm>
              <a:off x="5703198" y="3892831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Table function</a:t>
              </a:r>
            </a:p>
          </p:txBody>
        </p:sp>
      </p:grpSp>
      <p:grpSp>
        <p:nvGrpSpPr>
          <p:cNvPr id="11" name="群組 10"/>
          <p:cNvGrpSpPr/>
          <p:nvPr/>
        </p:nvGrpSpPr>
        <p:grpSpPr>
          <a:xfrm>
            <a:off x="3796648" y="4355109"/>
            <a:ext cx="7430921" cy="739243"/>
            <a:chOff x="4550094" y="4723989"/>
            <a:chExt cx="8917105" cy="887092"/>
          </a:xfrm>
        </p:grpSpPr>
        <p:sp>
          <p:nvSpPr>
            <p:cNvPr id="51" name="Rectangle 6"/>
            <p:cNvSpPr/>
            <p:nvPr/>
          </p:nvSpPr>
          <p:spPr>
            <a:xfrm>
              <a:off x="4595813" y="483203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2" name="Right Triangle 7"/>
            <p:cNvSpPr/>
            <p:nvPr/>
          </p:nvSpPr>
          <p:spPr>
            <a:xfrm rot="5400000">
              <a:off x="4624137" y="483405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3" name="TextBox 15"/>
            <p:cNvSpPr txBox="1"/>
            <p:nvPr/>
          </p:nvSpPr>
          <p:spPr>
            <a:xfrm>
              <a:off x="4550094" y="4723989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5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7" name="TextBox 21"/>
            <p:cNvSpPr txBox="1"/>
            <p:nvPr/>
          </p:nvSpPr>
          <p:spPr>
            <a:xfrm>
              <a:off x="5695910" y="4934747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VDM type and data category</a:t>
              </a:r>
            </a:p>
          </p:txBody>
        </p:sp>
      </p:grpSp>
      <p:grpSp>
        <p:nvGrpSpPr>
          <p:cNvPr id="12" name="群組 11"/>
          <p:cNvGrpSpPr/>
          <p:nvPr/>
        </p:nvGrpSpPr>
        <p:grpSpPr>
          <a:xfrm>
            <a:off x="3796648" y="5287127"/>
            <a:ext cx="7430920" cy="739243"/>
            <a:chOff x="4536179" y="5760904"/>
            <a:chExt cx="8917104" cy="887092"/>
          </a:xfrm>
        </p:grpSpPr>
        <p:sp>
          <p:nvSpPr>
            <p:cNvPr id="57" name="Rectangle 6"/>
            <p:cNvSpPr/>
            <p:nvPr/>
          </p:nvSpPr>
          <p:spPr>
            <a:xfrm>
              <a:off x="4581897" y="5868946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8" name="Right Triangle 7"/>
            <p:cNvSpPr/>
            <p:nvPr/>
          </p:nvSpPr>
          <p:spPr>
            <a:xfrm rot="5400000">
              <a:off x="4610222" y="587097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9" name="TextBox 15"/>
            <p:cNvSpPr txBox="1"/>
            <p:nvPr/>
          </p:nvSpPr>
          <p:spPr>
            <a:xfrm>
              <a:off x="4536179" y="5760904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6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8" name="TextBox 21"/>
            <p:cNvSpPr txBox="1"/>
            <p:nvPr/>
          </p:nvSpPr>
          <p:spPr>
            <a:xfrm>
              <a:off x="5681995" y="5971660"/>
              <a:ext cx="7510384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Anno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475496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s – Creating via Eclipse(3/5)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1" y="1554480"/>
            <a:ext cx="272545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Naming and assign transport reques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D49AF03F-3DC1-1713-464E-B82490AD95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0228" y="1370288"/>
            <a:ext cx="3957951" cy="4811057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CF1DB1D0-B96A-707C-AC36-A41A3FD0B5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1951" y="1370287"/>
            <a:ext cx="3957951" cy="4811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7448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s – Creating via Eclipse(4/5)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3451963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Select templat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74B74633-6282-9D80-71D6-66F0D01193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1080" y="1554480"/>
            <a:ext cx="5951716" cy="4626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9819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s – Creating via Eclipse(5/5)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486094" cy="70020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Define data source of CDS vie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4AF32820-1D67-6460-1433-684CC4C21D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881" y="2533109"/>
            <a:ext cx="10160472" cy="3404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3383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s -- Join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Session variable : </a:t>
            </a: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$session</a:t>
            </a:r>
            <a:endParaRPr lang="en-US" altLang="zh-TW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Parameter : </a:t>
            </a: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$parameter</a:t>
            </a:r>
            <a:endParaRPr lang="en-US" altLang="zh-TW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3200" b="1" dirty="0">
                <a:latin typeface="Arial" panose="020B0604020202020204" pitchFamily="34" charset="0"/>
                <a:cs typeface="Arial" panose="020B0604020202020204" pitchFamily="34" charset="0"/>
              </a:rPr>
              <a:t>Search CDS view</a:t>
            </a:r>
          </a:p>
          <a:p>
            <a:r>
              <a:rPr lang="en-US" altLang="zh-TW" sz="32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Virtual Data Model and CDS Views</a:t>
            </a:r>
            <a:endParaRPr lang="en-US" altLang="zh-TW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Inner Joi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Left outer joi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Right outer join</a:t>
            </a: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74F9C704-71EA-4ABB-AEA6-E1590F7170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5198" y="917448"/>
            <a:ext cx="3928538" cy="535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556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s -- Association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453896"/>
            <a:ext cx="7122090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Replace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de-DE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inner join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’ with ‘association [X..X] to’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Entity selection list must include fields in association and others CDS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zh-TW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You have to keep </a:t>
            </a: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as name of association entity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 as a public o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't create association between associ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Association is a lazy join or </a:t>
            </a: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demand joi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Join and Association depend on </a:t>
            </a: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olume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ity</a:t>
            </a: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E5284659-20C4-6E90-CCB8-C6FC034D2A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7593" y="1450764"/>
            <a:ext cx="8026813" cy="4915153"/>
          </a:xfrm>
          <a:prstGeom prst="rect">
            <a:avLst/>
          </a:prstGeom>
        </p:spPr>
      </p:pic>
      <p:cxnSp>
        <p:nvCxnSpPr>
          <p:cNvPr id="7" name="直線單箭頭接點 6">
            <a:extLst>
              <a:ext uri="{FF2B5EF4-FFF2-40B4-BE49-F238E27FC236}">
                <a16:creationId xmlns:a16="http://schemas.microsoft.com/office/drawing/2014/main" id="{E12F40A4-DE73-B8B3-EF40-EC920CDA834E}"/>
              </a:ext>
            </a:extLst>
          </p:cNvPr>
          <p:cNvCxnSpPr/>
          <p:nvPr/>
        </p:nvCxnSpPr>
        <p:spPr bwMode="auto">
          <a:xfrm flipV="1">
            <a:off x="7202466" y="2442575"/>
            <a:ext cx="2868460" cy="764088"/>
          </a:xfrm>
          <a:prstGeom prst="straightConnector1">
            <a:avLst/>
          </a:prstGeom>
          <a:ln w="25400">
            <a:solidFill>
              <a:srgbClr val="0033CC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31787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Path expressions– access </a:t>
            </a:r>
            <a:r>
              <a:rPr lang="en-US" altLang="zh-TW" sz="4000" b="1" dirty="0" err="1">
                <a:latin typeface="Arial" panose="020B0604020202020204" pitchFamily="34" charset="0"/>
                <a:cs typeface="Arial" panose="020B0604020202020204" pitchFamily="34" charset="0"/>
              </a:rPr>
              <a:t>cds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 view in ABAP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1" y="1554480"/>
            <a:ext cx="11432058" cy="682093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select ...  \association-field from </a:t>
            </a:r>
            <a:r>
              <a:rPr lang="en-US" altLang="zh-TW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cds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-view, Using CDS entity name instead of </a:t>
            </a:r>
            <a:r>
              <a:rPr lang="en-US" altLang="zh-TW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sqlviewname</a:t>
            </a:r>
            <a:endParaRPr lang="en-US" altLang="zh-TW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CC52FDE2-5487-ED2D-29CC-270B9A53B0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9509" y="2236573"/>
            <a:ext cx="4970465" cy="2838735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07467D04-B1C9-FC33-A1A2-0B514A3835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3530" y="5249862"/>
            <a:ext cx="5053814" cy="1363062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6A753C2E-3F9A-9E4D-2607-4181E0D2E4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653" y="2616807"/>
            <a:ext cx="5370771" cy="1711411"/>
          </a:xfrm>
          <a:prstGeom prst="rect">
            <a:avLst/>
          </a:prstGeom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6EDD861C-63BA-86E4-524C-761E96F887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0703" y="4328218"/>
            <a:ext cx="4136907" cy="2148782"/>
          </a:xfrm>
          <a:prstGeom prst="rect">
            <a:avLst/>
          </a:prstGeom>
        </p:spPr>
      </p:pic>
      <p:cxnSp>
        <p:nvCxnSpPr>
          <p:cNvPr id="2" name="直線單箭頭接點 1">
            <a:extLst>
              <a:ext uri="{FF2B5EF4-FFF2-40B4-BE49-F238E27FC236}">
                <a16:creationId xmlns:a16="http://schemas.microsoft.com/office/drawing/2014/main" id="{5CF97DBA-C077-2701-266E-A798E4D6C541}"/>
              </a:ext>
            </a:extLst>
          </p:cNvPr>
          <p:cNvCxnSpPr>
            <a:cxnSpLocks/>
          </p:cNvCxnSpPr>
          <p:nvPr/>
        </p:nvCxnSpPr>
        <p:spPr bwMode="auto">
          <a:xfrm>
            <a:off x="3807912" y="3908121"/>
            <a:ext cx="4459266" cy="2342367"/>
          </a:xfrm>
          <a:prstGeom prst="straightConnector1">
            <a:avLst/>
          </a:prstGeom>
          <a:ln w="25400">
            <a:solidFill>
              <a:srgbClr val="0033CC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單箭頭接點 7">
            <a:extLst>
              <a:ext uri="{FF2B5EF4-FFF2-40B4-BE49-F238E27FC236}">
                <a16:creationId xmlns:a16="http://schemas.microsoft.com/office/drawing/2014/main" id="{B6756A93-271E-B4DB-5124-B5778F837C95}"/>
              </a:ext>
            </a:extLst>
          </p:cNvPr>
          <p:cNvCxnSpPr>
            <a:cxnSpLocks/>
          </p:cNvCxnSpPr>
          <p:nvPr/>
        </p:nvCxnSpPr>
        <p:spPr bwMode="auto">
          <a:xfrm>
            <a:off x="2492679" y="3820438"/>
            <a:ext cx="4847573" cy="2517732"/>
          </a:xfrm>
          <a:prstGeom prst="straightConnector1">
            <a:avLst/>
          </a:prstGeom>
          <a:ln w="25400">
            <a:solidFill>
              <a:srgbClr val="0033CC"/>
            </a:solidFill>
            <a:headEnd type="none" w="med" len="med"/>
            <a:tailEnd type="triangle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文字方塊 1">
            <a:extLst>
              <a:ext uri="{FF2B5EF4-FFF2-40B4-BE49-F238E27FC236}">
                <a16:creationId xmlns:a16="http://schemas.microsoft.com/office/drawing/2014/main" id="{6E40AA6E-05C2-EAD6-C2FC-D7F4B533C81D}"/>
              </a:ext>
            </a:extLst>
          </p:cNvPr>
          <p:cNvSpPr txBox="1"/>
          <p:nvPr/>
        </p:nvSpPr>
        <p:spPr>
          <a:xfrm rot="19606985">
            <a:off x="9953750" y="2829183"/>
            <a:ext cx="1480458" cy="34350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0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548786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097573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46358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195146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743931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292718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841504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390291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1800"/>
              </a:spcBef>
            </a:pPr>
            <a:r>
              <a:rPr lang="zh-TW" altLang="en-US" sz="1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錯誤語法範例</a:t>
            </a:r>
          </a:p>
        </p:txBody>
      </p:sp>
      <p:sp>
        <p:nvSpPr>
          <p:cNvPr id="14" name="文字方塊 2">
            <a:extLst>
              <a:ext uri="{FF2B5EF4-FFF2-40B4-BE49-F238E27FC236}">
                <a16:creationId xmlns:a16="http://schemas.microsoft.com/office/drawing/2014/main" id="{1D7C706C-DEA0-7590-E0C7-0D76AE510D06}"/>
              </a:ext>
            </a:extLst>
          </p:cNvPr>
          <p:cNvSpPr txBox="1"/>
          <p:nvPr/>
        </p:nvSpPr>
        <p:spPr>
          <a:xfrm rot="19857266">
            <a:off x="9991067" y="5732628"/>
            <a:ext cx="1480458" cy="34350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0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548786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097573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46358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195146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743931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292718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841504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390291" algn="l" defTabSz="1097573" rtl="0" eaLnBrk="1" latinLnBrk="0" hangingPunct="1">
              <a:defRPr sz="216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1800"/>
              </a:spcBef>
            </a:pPr>
            <a:r>
              <a:rPr lang="zh-TW" altLang="en-US" sz="1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正確語法範例</a:t>
            </a:r>
          </a:p>
        </p:txBody>
      </p:sp>
      <p:cxnSp>
        <p:nvCxnSpPr>
          <p:cNvPr id="12" name="直線單箭頭接點 11">
            <a:extLst>
              <a:ext uri="{FF2B5EF4-FFF2-40B4-BE49-F238E27FC236}">
                <a16:creationId xmlns:a16="http://schemas.microsoft.com/office/drawing/2014/main" id="{665C8B0C-35C6-AE07-FA6B-8E42F1E3AE9F}"/>
              </a:ext>
            </a:extLst>
          </p:cNvPr>
          <p:cNvCxnSpPr/>
          <p:nvPr/>
        </p:nvCxnSpPr>
        <p:spPr bwMode="auto">
          <a:xfrm flipH="1" flipV="1">
            <a:off x="4546948" y="2956142"/>
            <a:ext cx="2793304" cy="363255"/>
          </a:xfrm>
          <a:prstGeom prst="straightConnector1">
            <a:avLst/>
          </a:prstGeom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8052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fr-FR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Associations — Lazy Join / On demand 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Keep only base table/CDS View fields in Selection List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Keep association as public / expose association **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Ad-Hoc Association : association name dot field nam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Path Expressions </a:t>
            </a:r>
          </a:p>
          <a:p>
            <a:r>
              <a:rPr lang="en-US" altLang="zh-TW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7212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Path expressions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1" y="1554480"/>
            <a:ext cx="11432058" cy="682093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Change the default outer join as inner join.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37AA7DAB-7A67-5AFA-C8C0-E380A5C2DE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150" y="3076833"/>
            <a:ext cx="8795202" cy="2667137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9670D855-212E-5FEE-DC98-4126098CB2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2368" y="2070030"/>
            <a:ext cx="5905804" cy="2717940"/>
          </a:xfrm>
          <a:prstGeom prst="rect">
            <a:avLst/>
          </a:prstGeom>
        </p:spPr>
      </p:pic>
      <p:sp>
        <p:nvSpPr>
          <p:cNvPr id="2" name="圖說文字: 向下箭號 1">
            <a:extLst>
              <a:ext uri="{FF2B5EF4-FFF2-40B4-BE49-F238E27FC236}">
                <a16:creationId xmlns:a16="http://schemas.microsoft.com/office/drawing/2014/main" id="{649147C9-FD90-9AFE-7D1A-3F98CC8FE471}"/>
              </a:ext>
            </a:extLst>
          </p:cNvPr>
          <p:cNvSpPr/>
          <p:nvPr/>
        </p:nvSpPr>
        <p:spPr bwMode="auto">
          <a:xfrm>
            <a:off x="8945270" y="1285134"/>
            <a:ext cx="2029216" cy="1009022"/>
          </a:xfrm>
          <a:prstGeom prst="downArrowCallou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400" b="0" i="0" u="none" strike="noStrike" cap="none" normalizeH="0" baseline="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/>
                <a:latin typeface="+mn-lt"/>
              </a:rPr>
              <a:t>Show SQL CREATE statement</a:t>
            </a:r>
            <a:endParaRPr kumimoji="0" lang="zh-TW" altLang="en-US" sz="1400" b="0" i="0" u="none" strike="noStrike" cap="none" normalizeH="0" baseline="0" dirty="0">
              <a:ln>
                <a:solidFill>
                  <a:schemeClr val="bg1"/>
                </a:solidFill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62573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compared to ECC views(1/3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79532"/>
            <a:ext cx="8963416" cy="4658430"/>
          </a:xfrm>
        </p:spPr>
        <p:txBody>
          <a:bodyPr/>
          <a:lstStyle/>
          <a:p>
            <a:pPr marL="457200" indent="-457200">
              <a:buFont typeface="Wingdings" panose="05000000000000000000" pitchFamily="2" charset="2"/>
              <a:buChar char="l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Various views in the ECC system </a:t>
            </a:r>
          </a:p>
          <a:p>
            <a:pPr marL="761988" lvl="2" indent="-4572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Database view</a:t>
            </a:r>
          </a:p>
          <a:p>
            <a:pPr marL="761988" lvl="2" indent="-4572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Projection view</a:t>
            </a:r>
          </a:p>
          <a:p>
            <a:pPr marL="761988" lvl="2" indent="-4572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Help view</a:t>
            </a:r>
          </a:p>
          <a:p>
            <a:pPr marL="761988" lvl="2" indent="-4572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Maintenance vie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圖片 13">
            <a:extLst>
              <a:ext uri="{FF2B5EF4-FFF2-40B4-BE49-F238E27FC236}">
                <a16:creationId xmlns:a16="http://schemas.microsoft.com/office/drawing/2014/main" id="{BA5501E6-9F50-1743-8750-26B15A0614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3967" y="2280989"/>
            <a:ext cx="3954940" cy="3255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783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compared to ECC views(2/3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0999" y="1579532"/>
            <a:ext cx="3790167" cy="3180358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l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Maintain via </a:t>
            </a:r>
            <a:r>
              <a:rPr lang="en-US" altLang="zh-TW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Tcode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 SE11 ABAP dictionary</a:t>
            </a:r>
          </a:p>
          <a:p>
            <a:endParaRPr lang="en-US" altLang="zh-TW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圖片 11">
            <a:extLst>
              <a:ext uri="{FF2B5EF4-FFF2-40B4-BE49-F238E27FC236}">
                <a16:creationId xmlns:a16="http://schemas.microsoft.com/office/drawing/2014/main" id="{99A75439-A5B1-1FF3-C634-EF9BE95DD6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9681" y="1213798"/>
            <a:ext cx="6460347" cy="5456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7571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33586" y="802818"/>
            <a:ext cx="3518956" cy="867423"/>
          </a:xfrm>
          <a:prstGeom prst="rect">
            <a:avLst/>
          </a:prstGeom>
        </p:spPr>
        <p:txBody>
          <a:bodyPr lIns="121920" tIns="60960" rIns="121920" bIns="60960" anchor="ctr"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7200" b="1" dirty="0">
                <a:latin typeface="IBM Plex Sans" panose="020B0503050203000203" pitchFamily="34" charset="0"/>
                <a:ea typeface="微軟正黑體" panose="020B0604030504040204" pitchFamily="34" charset="-120"/>
                <a:cs typeface="Arial" pitchFamily="34" charset="0"/>
              </a:rPr>
              <a:t>Agenda</a:t>
            </a:r>
            <a:r>
              <a:rPr lang="en-US" sz="7200" dirty="0">
                <a:cs typeface="Arial" pitchFamily="34" charset="0"/>
              </a:rPr>
              <a:t> </a:t>
            </a:r>
          </a:p>
        </p:txBody>
      </p:sp>
      <p:grpSp>
        <p:nvGrpSpPr>
          <p:cNvPr id="2" name="群組 1"/>
          <p:cNvGrpSpPr/>
          <p:nvPr/>
        </p:nvGrpSpPr>
        <p:grpSpPr>
          <a:xfrm>
            <a:off x="3796648" y="947145"/>
            <a:ext cx="7430921" cy="739243"/>
            <a:chOff x="4550094" y="502920"/>
            <a:chExt cx="8917105" cy="887092"/>
          </a:xfrm>
        </p:grpSpPr>
        <p:sp>
          <p:nvSpPr>
            <p:cNvPr id="7" name="Rectangle 6"/>
            <p:cNvSpPr/>
            <p:nvPr/>
          </p:nvSpPr>
          <p:spPr>
            <a:xfrm>
              <a:off x="4595813" y="610962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8" name="Right Triangle 7"/>
            <p:cNvSpPr/>
            <p:nvPr/>
          </p:nvSpPr>
          <p:spPr>
            <a:xfrm rot="5400000">
              <a:off x="4624137" y="612986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550094" y="502920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1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3" name="TextBox 21"/>
            <p:cNvSpPr txBox="1"/>
            <p:nvPr/>
          </p:nvSpPr>
          <p:spPr>
            <a:xfrm>
              <a:off x="5680669" y="763683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de-DE" altLang="zh-CN" sz="2333" b="1" dirty="0"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DS Views Introduction</a:t>
              </a:r>
              <a:endParaRPr lang="en-US" altLang="zh-CN" sz="2333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6" name="群組 5"/>
          <p:cNvGrpSpPr/>
          <p:nvPr/>
        </p:nvGrpSpPr>
        <p:grpSpPr>
          <a:xfrm>
            <a:off x="3796648" y="1765103"/>
            <a:ext cx="7430920" cy="739243"/>
            <a:chOff x="4560699" y="1563083"/>
            <a:chExt cx="8917104" cy="887092"/>
          </a:xfrm>
        </p:grpSpPr>
        <p:sp>
          <p:nvSpPr>
            <p:cNvPr id="33" name="Rectangle 6"/>
            <p:cNvSpPr/>
            <p:nvPr/>
          </p:nvSpPr>
          <p:spPr>
            <a:xfrm>
              <a:off x="4606417" y="1671125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4" name="Right Triangle 7"/>
            <p:cNvSpPr/>
            <p:nvPr/>
          </p:nvSpPr>
          <p:spPr>
            <a:xfrm rot="5400000">
              <a:off x="4634742" y="167315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5" name="TextBox 15"/>
            <p:cNvSpPr txBox="1"/>
            <p:nvPr/>
          </p:nvSpPr>
          <p:spPr>
            <a:xfrm>
              <a:off x="4560699" y="1563083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2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4" name="TextBox 21"/>
            <p:cNvSpPr txBox="1"/>
            <p:nvPr/>
          </p:nvSpPr>
          <p:spPr>
            <a:xfrm>
              <a:off x="5706515" y="1827058"/>
              <a:ext cx="7510384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reate CDS View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9" name="群組 8"/>
          <p:cNvGrpSpPr/>
          <p:nvPr/>
        </p:nvGrpSpPr>
        <p:grpSpPr>
          <a:xfrm>
            <a:off x="3796647" y="2728579"/>
            <a:ext cx="7430921" cy="739244"/>
            <a:chOff x="4555977" y="2634558"/>
            <a:chExt cx="8917105" cy="887093"/>
          </a:xfrm>
        </p:grpSpPr>
        <p:sp>
          <p:nvSpPr>
            <p:cNvPr id="39" name="Rectangle 6"/>
            <p:cNvSpPr/>
            <p:nvPr/>
          </p:nvSpPr>
          <p:spPr>
            <a:xfrm>
              <a:off x="4601696" y="274260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0" name="Right Triangle 7"/>
            <p:cNvSpPr/>
            <p:nvPr/>
          </p:nvSpPr>
          <p:spPr>
            <a:xfrm rot="5400000">
              <a:off x="4630020" y="274462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1" name="TextBox 15"/>
            <p:cNvSpPr txBox="1"/>
            <p:nvPr/>
          </p:nvSpPr>
          <p:spPr>
            <a:xfrm>
              <a:off x="4555977" y="2634558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3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5" name="TextBox 21"/>
            <p:cNvSpPr txBox="1"/>
            <p:nvPr/>
          </p:nvSpPr>
          <p:spPr>
            <a:xfrm>
              <a:off x="5701795" y="2845316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ardinality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10" name="群組 9"/>
          <p:cNvGrpSpPr/>
          <p:nvPr/>
        </p:nvGrpSpPr>
        <p:grpSpPr>
          <a:xfrm>
            <a:off x="3796648" y="3585257"/>
            <a:ext cx="7430921" cy="739243"/>
            <a:chOff x="4557382" y="3682075"/>
            <a:chExt cx="8917105" cy="887092"/>
          </a:xfrm>
        </p:grpSpPr>
        <p:sp>
          <p:nvSpPr>
            <p:cNvPr id="45" name="Rectangle 6"/>
            <p:cNvSpPr/>
            <p:nvPr/>
          </p:nvSpPr>
          <p:spPr>
            <a:xfrm>
              <a:off x="4603101" y="3790117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6" name="Right Triangle 7"/>
            <p:cNvSpPr/>
            <p:nvPr/>
          </p:nvSpPr>
          <p:spPr>
            <a:xfrm rot="5400000">
              <a:off x="4631425" y="3792142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7" name="TextBox 15"/>
            <p:cNvSpPr txBox="1"/>
            <p:nvPr/>
          </p:nvSpPr>
          <p:spPr>
            <a:xfrm>
              <a:off x="4557382" y="3682075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4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6" name="TextBox 21"/>
            <p:cNvSpPr txBox="1"/>
            <p:nvPr/>
          </p:nvSpPr>
          <p:spPr>
            <a:xfrm>
              <a:off x="5703198" y="3892831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Table function</a:t>
              </a:r>
            </a:p>
          </p:txBody>
        </p:sp>
      </p:grpSp>
      <p:grpSp>
        <p:nvGrpSpPr>
          <p:cNvPr id="11" name="群組 10"/>
          <p:cNvGrpSpPr/>
          <p:nvPr/>
        </p:nvGrpSpPr>
        <p:grpSpPr>
          <a:xfrm>
            <a:off x="3796648" y="4355109"/>
            <a:ext cx="7430921" cy="739243"/>
            <a:chOff x="4550094" y="4723989"/>
            <a:chExt cx="8917105" cy="887092"/>
          </a:xfrm>
        </p:grpSpPr>
        <p:sp>
          <p:nvSpPr>
            <p:cNvPr id="51" name="Rectangle 6"/>
            <p:cNvSpPr/>
            <p:nvPr/>
          </p:nvSpPr>
          <p:spPr>
            <a:xfrm>
              <a:off x="4595813" y="483203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2" name="Right Triangle 7"/>
            <p:cNvSpPr/>
            <p:nvPr/>
          </p:nvSpPr>
          <p:spPr>
            <a:xfrm rot="5400000">
              <a:off x="4624137" y="483405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3" name="TextBox 15"/>
            <p:cNvSpPr txBox="1"/>
            <p:nvPr/>
          </p:nvSpPr>
          <p:spPr>
            <a:xfrm>
              <a:off x="4550094" y="4723989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5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7" name="TextBox 21"/>
            <p:cNvSpPr txBox="1"/>
            <p:nvPr/>
          </p:nvSpPr>
          <p:spPr>
            <a:xfrm>
              <a:off x="5695910" y="4934747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VDM type and data category</a:t>
              </a:r>
            </a:p>
          </p:txBody>
        </p:sp>
      </p:grpSp>
      <p:grpSp>
        <p:nvGrpSpPr>
          <p:cNvPr id="12" name="群組 11"/>
          <p:cNvGrpSpPr/>
          <p:nvPr/>
        </p:nvGrpSpPr>
        <p:grpSpPr>
          <a:xfrm>
            <a:off x="3796648" y="5287127"/>
            <a:ext cx="7430920" cy="739243"/>
            <a:chOff x="4536179" y="5760904"/>
            <a:chExt cx="8917104" cy="887092"/>
          </a:xfrm>
        </p:grpSpPr>
        <p:sp>
          <p:nvSpPr>
            <p:cNvPr id="57" name="Rectangle 6"/>
            <p:cNvSpPr/>
            <p:nvPr/>
          </p:nvSpPr>
          <p:spPr>
            <a:xfrm>
              <a:off x="4581897" y="5868946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8" name="Right Triangle 7"/>
            <p:cNvSpPr/>
            <p:nvPr/>
          </p:nvSpPr>
          <p:spPr>
            <a:xfrm rot="5400000">
              <a:off x="4610222" y="587097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9" name="TextBox 15"/>
            <p:cNvSpPr txBox="1"/>
            <p:nvPr/>
          </p:nvSpPr>
          <p:spPr>
            <a:xfrm>
              <a:off x="4536179" y="5760904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6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8" name="TextBox 21"/>
            <p:cNvSpPr txBox="1"/>
            <p:nvPr/>
          </p:nvSpPr>
          <p:spPr>
            <a:xfrm>
              <a:off x="5681995" y="5971660"/>
              <a:ext cx="7510384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Anno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210306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compared to ECC views(3/3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2" y="1579532"/>
            <a:ext cx="2988500" cy="465843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l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Using join to relate different data sources 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1DB8260A-3C7A-1C23-2D66-DBB372537E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9502" y="1453896"/>
            <a:ext cx="7357413" cy="5217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5390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33586" y="802818"/>
            <a:ext cx="3518956" cy="867423"/>
          </a:xfrm>
          <a:prstGeom prst="rect">
            <a:avLst/>
          </a:prstGeom>
        </p:spPr>
        <p:txBody>
          <a:bodyPr lIns="121920" tIns="60960" rIns="121920" bIns="60960" anchor="ctr"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7200" b="1" dirty="0">
                <a:latin typeface="IBM Plex Sans" panose="020B0503050203000203" pitchFamily="34" charset="0"/>
                <a:ea typeface="微軟正黑體" panose="020B0604030504040204" pitchFamily="34" charset="-120"/>
                <a:cs typeface="Arial" pitchFamily="34" charset="0"/>
              </a:rPr>
              <a:t>Agenda</a:t>
            </a:r>
            <a:r>
              <a:rPr lang="en-US" sz="7200" dirty="0">
                <a:cs typeface="Arial" pitchFamily="34" charset="0"/>
              </a:rPr>
              <a:t> </a:t>
            </a:r>
          </a:p>
        </p:txBody>
      </p:sp>
      <p:grpSp>
        <p:nvGrpSpPr>
          <p:cNvPr id="2" name="群組 1"/>
          <p:cNvGrpSpPr/>
          <p:nvPr/>
        </p:nvGrpSpPr>
        <p:grpSpPr>
          <a:xfrm>
            <a:off x="3796648" y="947145"/>
            <a:ext cx="7430921" cy="739243"/>
            <a:chOff x="4550094" y="502920"/>
            <a:chExt cx="8917105" cy="887092"/>
          </a:xfrm>
        </p:grpSpPr>
        <p:sp>
          <p:nvSpPr>
            <p:cNvPr id="7" name="Rectangle 6"/>
            <p:cNvSpPr/>
            <p:nvPr/>
          </p:nvSpPr>
          <p:spPr>
            <a:xfrm>
              <a:off x="4595813" y="610962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8" name="Right Triangle 7"/>
            <p:cNvSpPr/>
            <p:nvPr/>
          </p:nvSpPr>
          <p:spPr>
            <a:xfrm rot="5400000">
              <a:off x="4624137" y="612986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550094" y="502920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1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3" name="TextBox 21"/>
            <p:cNvSpPr txBox="1"/>
            <p:nvPr/>
          </p:nvSpPr>
          <p:spPr>
            <a:xfrm>
              <a:off x="5680669" y="763683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de-DE" altLang="zh-CN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DS Views Introduction</a:t>
              </a:r>
              <a:endParaRPr lang="en-US" altLang="zh-CN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6" name="群組 5"/>
          <p:cNvGrpSpPr/>
          <p:nvPr/>
        </p:nvGrpSpPr>
        <p:grpSpPr>
          <a:xfrm>
            <a:off x="3796648" y="1765103"/>
            <a:ext cx="7430920" cy="739243"/>
            <a:chOff x="4560699" y="1563083"/>
            <a:chExt cx="8917104" cy="887092"/>
          </a:xfrm>
        </p:grpSpPr>
        <p:sp>
          <p:nvSpPr>
            <p:cNvPr id="33" name="Rectangle 6"/>
            <p:cNvSpPr/>
            <p:nvPr/>
          </p:nvSpPr>
          <p:spPr>
            <a:xfrm>
              <a:off x="4606417" y="1671125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4" name="Right Triangle 7"/>
            <p:cNvSpPr/>
            <p:nvPr/>
          </p:nvSpPr>
          <p:spPr>
            <a:xfrm rot="5400000">
              <a:off x="4634742" y="167315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5" name="TextBox 15"/>
            <p:cNvSpPr txBox="1"/>
            <p:nvPr/>
          </p:nvSpPr>
          <p:spPr>
            <a:xfrm>
              <a:off x="4560699" y="1563083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2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4" name="TextBox 21"/>
            <p:cNvSpPr txBox="1"/>
            <p:nvPr/>
          </p:nvSpPr>
          <p:spPr>
            <a:xfrm>
              <a:off x="5706515" y="1827058"/>
              <a:ext cx="7510384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reate CDS View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9" name="群組 8"/>
          <p:cNvGrpSpPr/>
          <p:nvPr/>
        </p:nvGrpSpPr>
        <p:grpSpPr>
          <a:xfrm>
            <a:off x="3796647" y="2728579"/>
            <a:ext cx="7430921" cy="739244"/>
            <a:chOff x="4555977" y="2634558"/>
            <a:chExt cx="8917105" cy="887093"/>
          </a:xfrm>
        </p:grpSpPr>
        <p:sp>
          <p:nvSpPr>
            <p:cNvPr id="39" name="Rectangle 6"/>
            <p:cNvSpPr/>
            <p:nvPr/>
          </p:nvSpPr>
          <p:spPr>
            <a:xfrm>
              <a:off x="4601696" y="274260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0" name="Right Triangle 7"/>
            <p:cNvSpPr/>
            <p:nvPr/>
          </p:nvSpPr>
          <p:spPr>
            <a:xfrm rot="5400000">
              <a:off x="4630020" y="274462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1" name="TextBox 15"/>
            <p:cNvSpPr txBox="1"/>
            <p:nvPr/>
          </p:nvSpPr>
          <p:spPr>
            <a:xfrm>
              <a:off x="4555977" y="2634558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3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5" name="TextBox 21"/>
            <p:cNvSpPr txBox="1"/>
            <p:nvPr/>
          </p:nvSpPr>
          <p:spPr>
            <a:xfrm>
              <a:off x="5701795" y="2845316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ardinality</a:t>
              </a:r>
              <a:endParaRPr lang="ko-KR" altLang="en-US" sz="2333" b="1" dirty="0"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10" name="群組 9"/>
          <p:cNvGrpSpPr/>
          <p:nvPr/>
        </p:nvGrpSpPr>
        <p:grpSpPr>
          <a:xfrm>
            <a:off x="3796648" y="3585257"/>
            <a:ext cx="7430921" cy="739243"/>
            <a:chOff x="4557382" y="3682075"/>
            <a:chExt cx="8917105" cy="887092"/>
          </a:xfrm>
        </p:grpSpPr>
        <p:sp>
          <p:nvSpPr>
            <p:cNvPr id="45" name="Rectangle 6"/>
            <p:cNvSpPr/>
            <p:nvPr/>
          </p:nvSpPr>
          <p:spPr>
            <a:xfrm>
              <a:off x="4603101" y="3790117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6" name="Right Triangle 7"/>
            <p:cNvSpPr/>
            <p:nvPr/>
          </p:nvSpPr>
          <p:spPr>
            <a:xfrm rot="5400000">
              <a:off x="4631425" y="3792142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7" name="TextBox 15"/>
            <p:cNvSpPr txBox="1"/>
            <p:nvPr/>
          </p:nvSpPr>
          <p:spPr>
            <a:xfrm>
              <a:off x="4557382" y="3682075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4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6" name="TextBox 21"/>
            <p:cNvSpPr txBox="1"/>
            <p:nvPr/>
          </p:nvSpPr>
          <p:spPr>
            <a:xfrm>
              <a:off x="5703198" y="3892831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Table function</a:t>
              </a:r>
            </a:p>
          </p:txBody>
        </p:sp>
      </p:grpSp>
      <p:grpSp>
        <p:nvGrpSpPr>
          <p:cNvPr id="11" name="群組 10"/>
          <p:cNvGrpSpPr/>
          <p:nvPr/>
        </p:nvGrpSpPr>
        <p:grpSpPr>
          <a:xfrm>
            <a:off x="3796648" y="4355109"/>
            <a:ext cx="7430921" cy="739243"/>
            <a:chOff x="4550094" y="4723989"/>
            <a:chExt cx="8917105" cy="887092"/>
          </a:xfrm>
        </p:grpSpPr>
        <p:sp>
          <p:nvSpPr>
            <p:cNvPr id="51" name="Rectangle 6"/>
            <p:cNvSpPr/>
            <p:nvPr/>
          </p:nvSpPr>
          <p:spPr>
            <a:xfrm>
              <a:off x="4595813" y="483203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2" name="Right Triangle 7"/>
            <p:cNvSpPr/>
            <p:nvPr/>
          </p:nvSpPr>
          <p:spPr>
            <a:xfrm rot="5400000">
              <a:off x="4624137" y="483405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3" name="TextBox 15"/>
            <p:cNvSpPr txBox="1"/>
            <p:nvPr/>
          </p:nvSpPr>
          <p:spPr>
            <a:xfrm>
              <a:off x="4550094" y="4723989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5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7" name="TextBox 21"/>
            <p:cNvSpPr txBox="1"/>
            <p:nvPr/>
          </p:nvSpPr>
          <p:spPr>
            <a:xfrm>
              <a:off x="5695910" y="4934747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VDM type and data category</a:t>
              </a:r>
            </a:p>
          </p:txBody>
        </p:sp>
      </p:grpSp>
      <p:grpSp>
        <p:nvGrpSpPr>
          <p:cNvPr id="12" name="群組 11"/>
          <p:cNvGrpSpPr/>
          <p:nvPr/>
        </p:nvGrpSpPr>
        <p:grpSpPr>
          <a:xfrm>
            <a:off x="3796648" y="5287127"/>
            <a:ext cx="7430920" cy="739243"/>
            <a:chOff x="4536179" y="5760904"/>
            <a:chExt cx="8917104" cy="887092"/>
          </a:xfrm>
        </p:grpSpPr>
        <p:sp>
          <p:nvSpPr>
            <p:cNvPr id="57" name="Rectangle 6"/>
            <p:cNvSpPr/>
            <p:nvPr/>
          </p:nvSpPr>
          <p:spPr>
            <a:xfrm>
              <a:off x="4581897" y="5868946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8" name="Right Triangle 7"/>
            <p:cNvSpPr/>
            <p:nvPr/>
          </p:nvSpPr>
          <p:spPr>
            <a:xfrm rot="5400000">
              <a:off x="4610222" y="587097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9" name="TextBox 15"/>
            <p:cNvSpPr txBox="1"/>
            <p:nvPr/>
          </p:nvSpPr>
          <p:spPr>
            <a:xfrm>
              <a:off x="4536179" y="5760904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6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8" name="TextBox 21"/>
            <p:cNvSpPr txBox="1"/>
            <p:nvPr/>
          </p:nvSpPr>
          <p:spPr>
            <a:xfrm>
              <a:off x="5681995" y="5971660"/>
              <a:ext cx="7510384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Anno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13058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3600" b="1" dirty="0">
                <a:latin typeface="Arial" panose="020B0604020202020204" pitchFamily="34" charset="0"/>
                <a:cs typeface="Arial" panose="020B0604020202020204" pitchFamily="34" charset="0"/>
              </a:rPr>
              <a:t>Basic idea about Cardinality in CDS association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1" y="1554480"/>
            <a:ext cx="11432058" cy="368478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Cardinality[Source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Min..Target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Max]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=&gt;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Cardinality[</a:t>
            </a: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</a:t>
            </a:r>
            <a:r>
              <a:rPr lang="zh-TW" altLang="en-US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 err="1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..Target</a:t>
            </a:r>
            <a:r>
              <a:rPr lang="zh-TW" altLang="en-US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optional,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 err="1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aultis</a:t>
            </a:r>
            <a:r>
              <a:rPr lang="zh-TW" altLang="en-US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0..1]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possible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are,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0..1,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1..1,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0..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,1..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1,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2,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so on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Show SQL CREATE statement’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 will help more to understand the results of cardinality.</a:t>
            </a:r>
          </a:p>
        </p:txBody>
      </p:sp>
    </p:spTree>
    <p:extLst>
      <p:ext uri="{BB962C8B-B14F-4D97-AF65-F5344CB8AC3E}">
        <p14:creationId xmlns:p14="http://schemas.microsoft.com/office/powerpoint/2010/main" val="5492138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1" y="1554480"/>
            <a:ext cx="11432058" cy="368478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en-US" altLang="zh-TW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Min..Max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] of the target dat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en-US" altLang="zh-TW" sz="2400" b="1" dirty="0" err="1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..Min</a:t>
            </a: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 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is not possible because maximum value is always greater than the minimum valu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Material description [1..1] [0..1] </a:t>
            </a:r>
            <a:r>
              <a:rPr lang="en-US" altLang="zh-TW" sz="2400" b="1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1..*]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Sales header and items [1..1] [0..1] </a:t>
            </a:r>
            <a:r>
              <a:rPr lang="en-US" altLang="zh-TW" sz="2400" b="1" dirty="0">
                <a:solidFill>
                  <a:srgbClr val="16161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1..*]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[1] – default and work for all scenario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38668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one to one vs one to many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1" y="1554480"/>
            <a:ext cx="4870621" cy="368478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2E74628C-188F-BC72-05CC-C2315BEEA7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264" y="1453896"/>
            <a:ext cx="10679403" cy="4621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8961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Business scenario(1/7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Simple scenario with standard tables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546EFC06-8140-89E2-CA26-1C65B58FA51E}"/>
              </a:ext>
            </a:extLst>
          </p:cNvPr>
          <p:cNvSpPr txBox="1"/>
          <p:nvPr/>
        </p:nvSpPr>
        <p:spPr>
          <a:xfrm>
            <a:off x="806838" y="5283408"/>
            <a:ext cx="2753139" cy="11133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800"/>
              </a:spcBef>
            </a:pPr>
            <a:r>
              <a:rPr lang="en-US" altLang="zh-TW" sz="1800" dirty="0">
                <a:solidFill>
                  <a:schemeClr val="tx1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Cardinality [1..1]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altLang="zh-TW" sz="1800" dirty="0">
                <a:solidFill>
                  <a:schemeClr val="tx1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Cardinality [1..*]</a:t>
            </a:r>
            <a:endParaRPr lang="zh-TW" altLang="en-US" sz="1800" dirty="0">
              <a:solidFill>
                <a:schemeClr val="tx1"/>
              </a:solidFill>
              <a:latin typeface="Arial" panose="020B0604020202020204" pitchFamily="34" charset="0"/>
              <a:ea typeface="IBM Plex Sans" charset="0"/>
              <a:cs typeface="Arial" panose="020B0604020202020204" pitchFamily="34" charset="0"/>
            </a:endParaRPr>
          </a:p>
          <a:p>
            <a:pPr algn="l">
              <a:lnSpc>
                <a:spcPct val="110000"/>
              </a:lnSpc>
              <a:spcBef>
                <a:spcPts val="1800"/>
              </a:spcBef>
            </a:pPr>
            <a:endParaRPr lang="zh-TW" altLang="en-US" sz="1800" dirty="0" err="1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14A0C8DB-9747-ED1C-67B7-6DDEA2F4F07B}"/>
              </a:ext>
            </a:extLst>
          </p:cNvPr>
          <p:cNvGrpSpPr/>
          <p:nvPr/>
        </p:nvGrpSpPr>
        <p:grpSpPr>
          <a:xfrm>
            <a:off x="576474" y="1468778"/>
            <a:ext cx="11027262" cy="4682467"/>
            <a:chOff x="576474" y="1468778"/>
            <a:chExt cx="11027262" cy="4682467"/>
          </a:xfrm>
        </p:grpSpPr>
        <p:grpSp>
          <p:nvGrpSpPr>
            <p:cNvPr id="34" name="群組 33">
              <a:extLst>
                <a:ext uri="{FF2B5EF4-FFF2-40B4-BE49-F238E27FC236}">
                  <a16:creationId xmlns:a16="http://schemas.microsoft.com/office/drawing/2014/main" id="{BC8E7624-60DB-64A7-73E5-6480E9C3E992}"/>
                </a:ext>
              </a:extLst>
            </p:cNvPr>
            <p:cNvGrpSpPr/>
            <p:nvPr/>
          </p:nvGrpSpPr>
          <p:grpSpPr>
            <a:xfrm>
              <a:off x="576474" y="2541514"/>
              <a:ext cx="10624525" cy="3609731"/>
              <a:chOff x="576474" y="2541514"/>
              <a:chExt cx="10624525" cy="3609731"/>
            </a:xfrm>
          </p:grpSpPr>
          <p:sp>
            <p:nvSpPr>
              <p:cNvPr id="8" name="矩形: 圓角 7">
                <a:extLst>
                  <a:ext uri="{FF2B5EF4-FFF2-40B4-BE49-F238E27FC236}">
                    <a16:creationId xmlns:a16="http://schemas.microsoft.com/office/drawing/2014/main" id="{02346662-BF8C-8B99-13FF-DFD103334303}"/>
                  </a:ext>
                </a:extLst>
              </p:cNvPr>
              <p:cNvSpPr/>
              <p:nvPr/>
            </p:nvSpPr>
            <p:spPr bwMode="auto">
              <a:xfrm>
                <a:off x="576474" y="3875724"/>
                <a:ext cx="2753139" cy="884583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4400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r>
                  <a:rPr lang="en-US" altLang="zh-TW" sz="16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Microsoft JhengHei Light" panose="020B0304030504040204" pitchFamily="34" charset="-120"/>
                    <a:cs typeface="Arial" panose="020B0604020202020204" pitchFamily="34" charset="0"/>
                  </a:rPr>
                  <a:t>Source : PO detail (header, and Delivery ) </a:t>
                </a:r>
                <a:endParaRPr kumimoji="0" lang="zh-TW" altLang="en-US" sz="1600" b="1" i="0" u="none" strike="noStrike" cap="none" normalizeH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Microsoft JhengHei Light" panose="020B0304030504040204" pitchFamily="34" charset="-120"/>
                  <a:cs typeface="Arial" panose="020B0604020202020204" pitchFamily="34" charset="0"/>
                </a:endParaRPr>
              </a:p>
            </p:txBody>
          </p:sp>
          <p:sp>
            <p:nvSpPr>
              <p:cNvPr id="14" name="矩形: 圓角 13">
                <a:extLst>
                  <a:ext uri="{FF2B5EF4-FFF2-40B4-BE49-F238E27FC236}">
                    <a16:creationId xmlns:a16="http://schemas.microsoft.com/office/drawing/2014/main" id="{09248CFC-CDD7-B596-AEC9-4E226DB3503A}"/>
                  </a:ext>
                </a:extLst>
              </p:cNvPr>
              <p:cNvSpPr/>
              <p:nvPr/>
            </p:nvSpPr>
            <p:spPr bwMode="auto">
              <a:xfrm>
                <a:off x="4791639" y="2626177"/>
                <a:ext cx="2753139" cy="884583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4400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r>
                  <a:rPr lang="en-US" altLang="zh-TW" sz="16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Microsoft JhengHei Light" panose="020B0304030504040204" pitchFamily="34" charset="-120"/>
                    <a:cs typeface="Arial" panose="020B0604020202020204" pitchFamily="34" charset="0"/>
                  </a:rPr>
                  <a:t>CDS with Master details</a:t>
                </a:r>
                <a:endParaRPr kumimoji="0" lang="zh-TW" altLang="en-US" sz="1600" b="1" i="0" u="none" strike="noStrike" cap="none" normalizeH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Microsoft JhengHei Light" panose="020B0304030504040204" pitchFamily="34" charset="-120"/>
                  <a:cs typeface="Arial" panose="020B0604020202020204" pitchFamily="34" charset="0"/>
                </a:endParaRPr>
              </a:p>
            </p:txBody>
          </p:sp>
          <p:cxnSp>
            <p:nvCxnSpPr>
              <p:cNvPr id="17" name="接點: 肘形 16">
                <a:extLst>
                  <a:ext uri="{FF2B5EF4-FFF2-40B4-BE49-F238E27FC236}">
                    <a16:creationId xmlns:a16="http://schemas.microsoft.com/office/drawing/2014/main" id="{7DE86C54-3FCF-8D58-FA10-576C5E3C1A81}"/>
                  </a:ext>
                </a:extLst>
              </p:cNvPr>
              <p:cNvCxnSpPr>
                <a:cxnSpLocks/>
                <a:stCxn id="8" idx="3"/>
                <a:endCxn id="14" idx="1"/>
              </p:cNvCxnSpPr>
              <p:nvPr/>
            </p:nvCxnSpPr>
            <p:spPr bwMode="auto">
              <a:xfrm flipV="1">
                <a:off x="3329613" y="3068469"/>
                <a:ext cx="1462026" cy="1249547"/>
              </a:xfrm>
              <a:prstGeom prst="bentConnector3">
                <a:avLst/>
              </a:prstGeom>
              <a:ln w="19050">
                <a:solidFill>
                  <a:schemeClr val="tx1"/>
                </a:solidFill>
                <a:headEnd type="none" w="med" len="med"/>
                <a:tailEnd type="triangle"/>
              </a:ln>
              <a:effectLst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9" name="書卷: 垂直 18">
                <a:extLst>
                  <a:ext uri="{FF2B5EF4-FFF2-40B4-BE49-F238E27FC236}">
                    <a16:creationId xmlns:a16="http://schemas.microsoft.com/office/drawing/2014/main" id="{1EF89ECE-ECBC-F205-85FF-EB613EC1A7E4}"/>
                  </a:ext>
                </a:extLst>
              </p:cNvPr>
              <p:cNvSpPr/>
              <p:nvPr/>
            </p:nvSpPr>
            <p:spPr bwMode="auto">
              <a:xfrm>
                <a:off x="8776440" y="2541514"/>
                <a:ext cx="2424559" cy="3553002"/>
              </a:xfrm>
              <a:prstGeom prst="verticalScroll">
                <a:avLst/>
              </a:prstGeom>
              <a:noFill/>
              <a:ln w="19050">
                <a:solidFill>
                  <a:srgbClr val="00B050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r>
                  <a:rPr kumimoji="0" lang="en-US" altLang="zh-TW" sz="18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UI Application</a:t>
                </a:r>
                <a:endParaRPr kumimoji="0" lang="zh-TW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矩形: 圓角 20">
                <a:extLst>
                  <a:ext uri="{FF2B5EF4-FFF2-40B4-BE49-F238E27FC236}">
                    <a16:creationId xmlns:a16="http://schemas.microsoft.com/office/drawing/2014/main" id="{27525A08-65E8-A15C-F80B-01A08B0E13D0}"/>
                  </a:ext>
                </a:extLst>
              </p:cNvPr>
              <p:cNvSpPr/>
              <p:nvPr/>
            </p:nvSpPr>
            <p:spPr bwMode="auto">
              <a:xfrm>
                <a:off x="4791639" y="3880875"/>
                <a:ext cx="2753139" cy="884583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4400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r>
                  <a:rPr lang="en-US" altLang="zh-TW" sz="16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Microsoft JhengHei Light" panose="020B0304030504040204" pitchFamily="34" charset="-120"/>
                    <a:cs typeface="Arial" panose="020B0604020202020204" pitchFamily="34" charset="0"/>
                  </a:rPr>
                  <a:t>CDS with Item count</a:t>
                </a:r>
                <a:endParaRPr kumimoji="0" lang="zh-TW" altLang="en-US" sz="1600" b="1" i="0" u="none" strike="noStrike" cap="none" normalizeH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Microsoft JhengHei Light" panose="020B0304030504040204" pitchFamily="34" charset="-120"/>
                  <a:cs typeface="Arial" panose="020B0604020202020204" pitchFamily="34" charset="0"/>
                </a:endParaRPr>
              </a:p>
            </p:txBody>
          </p:sp>
          <p:cxnSp>
            <p:nvCxnSpPr>
              <p:cNvPr id="23" name="接點: 肘形 22">
                <a:extLst>
                  <a:ext uri="{FF2B5EF4-FFF2-40B4-BE49-F238E27FC236}">
                    <a16:creationId xmlns:a16="http://schemas.microsoft.com/office/drawing/2014/main" id="{6DCEC4B4-45F3-03B2-A1E6-BECC2B9F18AA}"/>
                  </a:ext>
                </a:extLst>
              </p:cNvPr>
              <p:cNvCxnSpPr>
                <a:cxnSpLocks/>
                <a:stCxn id="8" idx="3"/>
                <a:endCxn id="21" idx="1"/>
              </p:cNvCxnSpPr>
              <p:nvPr/>
            </p:nvCxnSpPr>
            <p:spPr bwMode="auto">
              <a:xfrm>
                <a:off x="3329613" y="4318016"/>
                <a:ext cx="1462026" cy="5151"/>
              </a:xfrm>
              <a:prstGeom prst="bentConnector3">
                <a:avLst/>
              </a:prstGeom>
              <a:ln w="19050">
                <a:solidFill>
                  <a:schemeClr val="tx1"/>
                </a:solidFill>
                <a:headEnd type="none" w="med" len="med"/>
                <a:tailEnd type="triangle"/>
              </a:ln>
              <a:effectLst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5" name="矩形: 圓角 24">
                <a:extLst>
                  <a:ext uri="{FF2B5EF4-FFF2-40B4-BE49-F238E27FC236}">
                    <a16:creationId xmlns:a16="http://schemas.microsoft.com/office/drawing/2014/main" id="{7D6138B5-AAC7-2062-ED9E-ED38801AAE00}"/>
                  </a:ext>
                </a:extLst>
              </p:cNvPr>
              <p:cNvSpPr/>
              <p:nvPr/>
            </p:nvSpPr>
            <p:spPr bwMode="auto">
              <a:xfrm>
                <a:off x="4791639" y="5266662"/>
                <a:ext cx="2753139" cy="884583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144000" marR="0" indent="0" algn="l" defTabSz="914400" rtl="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r>
                  <a:rPr lang="en-US" altLang="zh-TW" sz="16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Microsoft JhengHei Light" panose="020B0304030504040204" pitchFamily="34" charset="-120"/>
                    <a:cs typeface="Arial" panose="020B0604020202020204" pitchFamily="34" charset="0"/>
                  </a:rPr>
                  <a:t>CDS with delivery count</a:t>
                </a:r>
                <a:endParaRPr kumimoji="0" lang="zh-TW" altLang="en-US" sz="1600" b="1" i="0" u="none" strike="noStrike" cap="none" normalizeH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Microsoft JhengHei Light" panose="020B0304030504040204" pitchFamily="34" charset="-120"/>
                  <a:cs typeface="Arial" panose="020B0604020202020204" pitchFamily="34" charset="0"/>
                </a:endParaRPr>
              </a:p>
            </p:txBody>
          </p:sp>
          <p:cxnSp>
            <p:nvCxnSpPr>
              <p:cNvPr id="26" name="接點: 肘形 25">
                <a:extLst>
                  <a:ext uri="{FF2B5EF4-FFF2-40B4-BE49-F238E27FC236}">
                    <a16:creationId xmlns:a16="http://schemas.microsoft.com/office/drawing/2014/main" id="{FEA05949-1533-CFD9-B3CA-E82F1BAE696A}"/>
                  </a:ext>
                </a:extLst>
              </p:cNvPr>
              <p:cNvCxnSpPr>
                <a:cxnSpLocks/>
                <a:stCxn id="8" idx="3"/>
                <a:endCxn id="25" idx="1"/>
              </p:cNvCxnSpPr>
              <p:nvPr/>
            </p:nvCxnSpPr>
            <p:spPr bwMode="auto">
              <a:xfrm>
                <a:off x="3329613" y="4318016"/>
                <a:ext cx="1462026" cy="1390938"/>
              </a:xfrm>
              <a:prstGeom prst="bentConnector3">
                <a:avLst/>
              </a:prstGeom>
              <a:ln w="19050">
                <a:solidFill>
                  <a:schemeClr val="tx1"/>
                </a:solidFill>
                <a:headEnd type="none" w="med" len="med"/>
                <a:tailEnd type="triangle"/>
              </a:ln>
              <a:effectLst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9" name="箭號: 向右 28">
                <a:extLst>
                  <a:ext uri="{FF2B5EF4-FFF2-40B4-BE49-F238E27FC236}">
                    <a16:creationId xmlns:a16="http://schemas.microsoft.com/office/drawing/2014/main" id="{263EAE09-282A-78DB-7490-5B665E8CC9B7}"/>
                  </a:ext>
                </a:extLst>
              </p:cNvPr>
              <p:cNvSpPr/>
              <p:nvPr/>
            </p:nvSpPr>
            <p:spPr bwMode="auto">
              <a:xfrm>
                <a:off x="7981122" y="3915481"/>
                <a:ext cx="954156" cy="785191"/>
              </a:xfrm>
              <a:prstGeom prst="rightArrow">
                <a:avLst/>
              </a:prstGeom>
              <a:solidFill>
                <a:srgbClr val="92D050"/>
              </a:solidFill>
              <a:ln w="19050">
                <a:solidFill>
                  <a:srgbClr val="00B050"/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stem Font Regular"/>
                  <a:buNone/>
                  <a:tabLst/>
                </a:pPr>
                <a:endParaRPr kumimoji="0" lang="zh-TW" altLang="en-US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endParaRPr>
              </a:p>
            </p:txBody>
          </p:sp>
        </p:grpSp>
        <p:sp>
          <p:nvSpPr>
            <p:cNvPr id="33" name="文字方塊 32">
              <a:extLst>
                <a:ext uri="{FF2B5EF4-FFF2-40B4-BE49-F238E27FC236}">
                  <a16:creationId xmlns:a16="http://schemas.microsoft.com/office/drawing/2014/main" id="{70A04255-10A4-5FF1-DB3B-BAC2A1459D79}"/>
                </a:ext>
              </a:extLst>
            </p:cNvPr>
            <p:cNvSpPr txBox="1"/>
            <p:nvPr/>
          </p:nvSpPr>
          <p:spPr>
            <a:xfrm>
              <a:off x="8850597" y="1468778"/>
              <a:ext cx="2753139" cy="11133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  <a:spcBef>
                  <a:spcPts val="1800"/>
                </a:spcBef>
              </a:pPr>
              <a:r>
                <a:rPr lang="en-US" altLang="zh-TW" sz="1800" dirty="0">
                  <a:solidFill>
                    <a:schemeClr val="tx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PO 1,  2 items, 0 delivery</a:t>
              </a:r>
            </a:p>
            <a:p>
              <a:pPr algn="l">
                <a:lnSpc>
                  <a:spcPct val="110000"/>
                </a:lnSpc>
                <a:spcBef>
                  <a:spcPts val="1800"/>
                </a:spcBef>
              </a:pPr>
              <a:r>
                <a:rPr lang="en-US" altLang="zh-TW" sz="1800" dirty="0">
                  <a:solidFill>
                    <a:schemeClr val="tx1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PO 2,  1 item, 21 deliveries</a:t>
              </a:r>
            </a:p>
            <a:p>
              <a:pPr algn="l">
                <a:lnSpc>
                  <a:spcPct val="110000"/>
                </a:lnSpc>
                <a:spcBef>
                  <a:spcPts val="1800"/>
                </a:spcBef>
              </a:pPr>
              <a:endParaRPr lang="zh-TW" altLang="en-US" sz="1800" dirty="0" err="1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73670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Business scenario(2/7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ssociation mapping association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E2A29F23-897B-0F91-1B11-7792567169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3142" y="2256063"/>
            <a:ext cx="8208674" cy="4220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29826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Business scenario(3/7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Cardinality [1..1]</a:t>
            </a: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200E79B7-C54A-4B15-1C88-606BBF60F5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478" y="2159285"/>
            <a:ext cx="4794496" cy="2749691"/>
          </a:xfrm>
          <a:prstGeom prst="rect">
            <a:avLst/>
          </a:prstGeom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E077200E-4E83-2910-8F95-9986AEEFB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4437" y="1905272"/>
            <a:ext cx="6134415" cy="3003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35947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Business scenario(4/7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Cardinality [1..1]</a:t>
            </a: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200E79B7-C54A-4B15-1C88-606BBF60F5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478" y="2159285"/>
            <a:ext cx="4794496" cy="2749691"/>
          </a:xfrm>
          <a:prstGeom prst="rect">
            <a:avLst/>
          </a:prstGeom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E077200E-4E83-2910-8F95-9986AEEFB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6451" y="1138527"/>
            <a:ext cx="6134415" cy="3003704"/>
          </a:xfrm>
          <a:prstGeom prst="rect">
            <a:avLst/>
          </a:prstGeom>
        </p:spPr>
      </p:pic>
      <p:pic>
        <p:nvPicPr>
          <p:cNvPr id="3" name="圖片 2">
            <a:extLst>
              <a:ext uri="{FF2B5EF4-FFF2-40B4-BE49-F238E27FC236}">
                <a16:creationId xmlns:a16="http://schemas.microsoft.com/office/drawing/2014/main" id="{597A9885-AEA7-95F5-6354-C4A937D007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06451" y="4455190"/>
            <a:ext cx="5588287" cy="2235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5235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Business scenario(5/7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Understanding cardinality with the help of SQL console</a:t>
            </a: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5FCEEE3F-1429-40AA-9C88-A0A83B2F58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227" y="2356648"/>
            <a:ext cx="5658141" cy="2857647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CBF31460-BB10-CC2F-A143-F9317FEE05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2379" y="2256063"/>
            <a:ext cx="4991357" cy="2190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3353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What is SAP CDS?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SAP CDS stands for SAP Core Data Service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SAP CDS is an infrastructure for data modelling that enables data models to be defined and consumed on the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 server rather than the application server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3200" b="0" i="0" dirty="0">
                <a:solidFill>
                  <a:srgbClr val="2A363C"/>
                </a:solidFill>
                <a:effectLst/>
                <a:highlight>
                  <a:srgbClr val="FFFFFF"/>
                </a:highlight>
                <a:latin typeface="Lato" panose="020F0502020204030203" pitchFamily="34" charset="0"/>
              </a:rPr>
              <a:t>enabling users to retrieve data fast, cutting down on application execution time. </a:t>
            </a:r>
            <a:endParaRPr lang="zh-TW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931576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Business scenario(6/7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Cardinality [1..</a:t>
            </a:r>
            <a:r>
              <a:rPr lang="zh-TW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altLang="zh-TW" sz="2400" b="1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025A5414-CEAB-98AE-3F5B-0077E27CB9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226725"/>
            <a:ext cx="5239019" cy="2711589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7AB41DFD-D9A4-D8B8-B4EE-063237B891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226725"/>
            <a:ext cx="5454930" cy="2597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3372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ardinality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Business scenario(7/7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ardinality [1..1] 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實務範例</a:t>
            </a: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53F67561-0E64-C4F7-2F6E-28995A3811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395" y="2256063"/>
            <a:ext cx="8807903" cy="3460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23409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-- $projection(1/6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文字版面配置區 14">
            <a:extLst>
              <a:ext uri="{FF2B5EF4-FFF2-40B4-BE49-F238E27FC236}">
                <a16:creationId xmlns:a16="http://schemas.microsoft.com/office/drawing/2014/main" id="{74FBC751-4F2E-9819-DBEE-4934E0FD3B53}"/>
              </a:ext>
            </a:extLst>
          </p:cNvPr>
          <p:cNvSpPr txBox="1">
            <a:spLocks/>
          </p:cNvSpPr>
          <p:nvPr/>
        </p:nvSpPr>
        <p:spPr>
          <a:xfrm>
            <a:off x="533401" y="1706880"/>
            <a:ext cx="11432058" cy="47701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kern="0" dirty="0">
                <a:latin typeface="Arial" panose="020B0604020202020204" pitchFamily="34" charset="0"/>
                <a:cs typeface="Arial" panose="020B0604020202020204" pitchFamily="34" charset="0"/>
              </a:rPr>
              <a:t>To make a </a:t>
            </a:r>
            <a:r>
              <a:rPr lang="en-US" altLang="zh-TW" sz="2400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</a:t>
            </a:r>
            <a:r>
              <a:rPr lang="en-US" altLang="zh-TW" sz="2400" kern="0" dirty="0">
                <a:latin typeface="Arial" panose="020B0604020202020204" pitchFamily="34" charset="0"/>
                <a:cs typeface="Arial" panose="020B0604020202020204" pitchFamily="34" charset="0"/>
              </a:rPr>
              <a:t> to an </a:t>
            </a:r>
            <a:r>
              <a:rPr lang="en-US" altLang="zh-TW" sz="2400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 of the SELECT list </a:t>
            </a:r>
            <a:r>
              <a:rPr lang="en-US" altLang="zh-TW" sz="2400" kern="0" dirty="0"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US" altLang="zh-TW" sz="2400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condition</a:t>
            </a:r>
            <a:r>
              <a:rPr lang="en-US" altLang="zh-TW" sz="2400" kern="0" dirty="0">
                <a:latin typeface="Arial" panose="020B0604020202020204" pitchFamily="34" charset="0"/>
                <a:cs typeface="Arial" panose="020B0604020202020204" pitchFamily="34" charset="0"/>
              </a:rPr>
              <a:t>, the field name can be prefixed with 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projection </a:t>
            </a:r>
            <a:r>
              <a:rPr lang="en-US" altLang="zh-TW" sz="2400" kern="0" dirty="0">
                <a:latin typeface="Arial" panose="020B0604020202020204" pitchFamily="34" charset="0"/>
                <a:cs typeface="Arial" panose="020B0604020202020204" pitchFamily="34" charset="0"/>
              </a:rPr>
              <a:t>instead of the source data source.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kern="0" dirty="0">
                <a:latin typeface="Arial" panose="020B0604020202020204" pitchFamily="34" charset="0"/>
                <a:cs typeface="Arial" panose="020B0604020202020204" pitchFamily="34" charset="0"/>
              </a:rPr>
              <a:t>In this case, </a:t>
            </a:r>
            <a:r>
              <a:rPr lang="en-US" altLang="zh-TW" sz="2400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alternative element name defined using AS </a:t>
            </a:r>
            <a:r>
              <a:rPr lang="en-US" altLang="zh-TW" sz="2400" kern="0" dirty="0">
                <a:latin typeface="Arial" panose="020B0604020202020204" pitchFamily="34" charset="0"/>
                <a:cs typeface="Arial" panose="020B0604020202020204" pitchFamily="34" charset="0"/>
              </a:rPr>
              <a:t>can be specified instead of the field name. 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kern="0" dirty="0">
                <a:latin typeface="Arial" panose="020B0604020202020204" pitchFamily="34" charset="0"/>
                <a:cs typeface="Arial" panose="020B0604020202020204" pitchFamily="34" charset="0"/>
              </a:rPr>
              <a:t>If a </a:t>
            </a:r>
            <a:r>
              <a:rPr lang="en-US" altLang="zh-TW" sz="2400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h expression </a:t>
            </a:r>
            <a:r>
              <a:rPr lang="en-US" altLang="zh-TW" sz="2400" kern="0" dirty="0">
                <a:latin typeface="Arial" panose="020B0604020202020204" pitchFamily="34" charset="0"/>
                <a:cs typeface="Arial" panose="020B0604020202020204" pitchFamily="34" charset="0"/>
              </a:rPr>
              <a:t>of the SELECT list is used when the prefix $projection is used in the ON condition, the current association cannot itself be used in the SELECT list, to avoid invalid join expressions.</a:t>
            </a:r>
          </a:p>
        </p:txBody>
      </p:sp>
    </p:spTree>
    <p:extLst>
      <p:ext uri="{BB962C8B-B14F-4D97-AF65-F5344CB8AC3E}">
        <p14:creationId xmlns:p14="http://schemas.microsoft.com/office/powerpoint/2010/main" val="33713166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-- $projection(2/6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文字版面配置區 14">
            <a:extLst>
              <a:ext uri="{FF2B5EF4-FFF2-40B4-BE49-F238E27FC236}">
                <a16:creationId xmlns:a16="http://schemas.microsoft.com/office/drawing/2014/main" id="{74FBC751-4F2E-9819-DBEE-4934E0FD3B53}"/>
              </a:ext>
            </a:extLst>
          </p:cNvPr>
          <p:cNvSpPr txBox="1">
            <a:spLocks/>
          </p:cNvSpPr>
          <p:nvPr/>
        </p:nvSpPr>
        <p:spPr>
          <a:xfrm>
            <a:off x="462448" y="1143209"/>
            <a:ext cx="6080341" cy="5520638"/>
          </a:xfrm>
          <a:prstGeom prst="rect">
            <a:avLst/>
          </a:prstGeom>
          <a:solidFill>
            <a:srgbClr val="FDF7E3"/>
          </a:solidFill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@AbapCatalog.sqlViewName: 'SALESO_INVHDR_VW'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define view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ales_order_invoice_header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as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select from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head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 inner join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 on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head.so_guid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=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.node_key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 association [1..1] to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bpa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as </a:t>
            </a:r>
            <a:r>
              <a:rPr lang="en-US" altLang="zh-TW" sz="1400" b="1" kern="1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_buyer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 on </a:t>
            </a:r>
            <a:r>
              <a:rPr lang="en-US" altLang="zh-TW" sz="1400" b="1" kern="1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$</a:t>
            </a:r>
            <a:r>
              <a:rPr lang="en-US" altLang="zh-TW" sz="1400" b="1" kern="100" dirty="0" err="1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projection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.buyer_guid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= _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buyer.node_key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 association [1..*] to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item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as </a:t>
            </a:r>
            <a:r>
              <a:rPr lang="en-US" altLang="zh-TW" sz="1400" b="1" kern="1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_</a:t>
            </a:r>
            <a:r>
              <a:rPr lang="en-US" altLang="zh-TW" sz="1400" b="1" kern="100" dirty="0" err="1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invoice_items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 on $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projection.node_key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= _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invoice_items.parent_key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 { key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head.node_key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,      //used in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assoc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_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invoice_items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  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head.buyer_guid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,    //used in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assoc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_buyer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  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.so_id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as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ales_order_id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,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   _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buyer.bp_id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as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buyer_id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,       //from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assoc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_buyer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  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head.payment_status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,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  @Semantics.currencyCode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  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head.currency_code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,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  @Semantics.amount.currencyCode: '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currency_code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'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  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head.gross_amount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,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       _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invoice_items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                 //publish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assoc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_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invoice_items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 }</a:t>
            </a:r>
            <a:b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</a:b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         where </a:t>
            </a:r>
            <a:r>
              <a:rPr lang="en-US" altLang="zh-TW" sz="1400" b="1" kern="1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_</a:t>
            </a:r>
            <a:r>
              <a:rPr lang="en-US" altLang="zh-TW" sz="1400" b="1" kern="100" dirty="0" err="1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buyer.bp_role</a:t>
            </a:r>
            <a:r>
              <a:rPr lang="en-US" altLang="zh-TW" sz="1400" b="1" kern="1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= '001'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;          //usage of </a:t>
            </a:r>
            <a:r>
              <a:rPr lang="en-US" altLang="zh-TW" sz="1400" kern="1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assoc</a:t>
            </a:r>
            <a:r>
              <a:rPr lang="en-US" altLang="zh-TW" sz="1400" kern="1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 buyer</a:t>
            </a:r>
            <a:endParaRPr lang="zh-TW" altLang="zh-TW" sz="1400" kern="100" dirty="0">
              <a:effectLst/>
              <a:latin typeface="Calibri" panose="020F0502020204030204" pitchFamily="34" charset="0"/>
              <a:ea typeface="新細明體" panose="02020500000000000000" pitchFamily="18" charset="-120"/>
              <a:cs typeface="Times New Roman" panose="02020603050405020304" pitchFamily="18" charset="0"/>
            </a:endParaRP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文字版面配置區 14">
            <a:extLst>
              <a:ext uri="{FF2B5EF4-FFF2-40B4-BE49-F238E27FC236}">
                <a16:creationId xmlns:a16="http://schemas.microsoft.com/office/drawing/2014/main" id="{0BF05047-8A93-B6CE-865E-EB18BFAA8F8D}"/>
              </a:ext>
            </a:extLst>
          </p:cNvPr>
          <p:cNvSpPr txBox="1">
            <a:spLocks/>
          </p:cNvSpPr>
          <p:nvPr/>
        </p:nvSpPr>
        <p:spPr>
          <a:xfrm>
            <a:off x="6542790" y="1143209"/>
            <a:ext cx="5268210" cy="55206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The source data source fields used in the ON conditions - </a:t>
            </a:r>
            <a:r>
              <a:rPr lang="en-US" altLang="zh-TW" sz="19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node_key</a:t>
            </a: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and </a:t>
            </a:r>
            <a:r>
              <a:rPr lang="en-US" altLang="zh-TW" sz="1900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buyer_guid</a:t>
            </a: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- are part of the SELECT list. Here the </a:t>
            </a:r>
            <a:r>
              <a:rPr lang="en-US" altLang="zh-TW" sz="19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prefix $projection is used instead of the prefixes </a:t>
            </a:r>
            <a:r>
              <a:rPr lang="en-US" altLang="zh-TW" sz="1900" dirty="0" err="1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head</a:t>
            </a:r>
            <a:r>
              <a:rPr lang="en-US" altLang="zh-TW" sz="19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or </a:t>
            </a:r>
            <a:r>
              <a:rPr lang="en-US" altLang="zh-TW" sz="1900" dirty="0" err="1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nwd_so_inv_head</a:t>
            </a: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.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The association </a:t>
            </a:r>
            <a:r>
              <a:rPr lang="en-US" altLang="zh-TW" sz="1900" b="1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_buyer </a:t>
            </a: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is not listed in the SELECT list and </a:t>
            </a:r>
            <a:r>
              <a:rPr lang="en-US" altLang="zh-TW" sz="19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can only be used in path expressions </a:t>
            </a: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of the current SELECT statement. This association can be specified in the WHERE condition due to the cardinality [1..1]. 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The association </a:t>
            </a:r>
            <a:r>
              <a:rPr lang="en-US" altLang="zh-TW" sz="1900" b="1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_</a:t>
            </a:r>
            <a:r>
              <a:rPr lang="en-US" altLang="zh-TW" sz="1900" b="1" dirty="0" err="1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invoice_items</a:t>
            </a:r>
            <a:r>
              <a:rPr lang="en-US" altLang="zh-TW" sz="1900" b="1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  </a:t>
            </a: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is listed in the SELECT list, which means </a:t>
            </a:r>
            <a:r>
              <a:rPr lang="en-US" altLang="zh-TW" sz="19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it can be used in path expressions </a:t>
            </a: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of other CDS views. This association </a:t>
            </a:r>
            <a:r>
              <a:rPr lang="en-US" altLang="zh-TW" sz="1900" dirty="0">
                <a:solidFill>
                  <a:srgbClr val="0033CC"/>
                </a:solidFill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cannot be specified in a WHERE </a:t>
            </a:r>
            <a:r>
              <a:rPr lang="en-US" altLang="zh-TW" sz="1900" dirty="0">
                <a:effectLst/>
                <a:latin typeface="Calibri" panose="020F0502020204030204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condition due to the cardinality [1..*].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US" altLang="zh-TW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1857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-- $projection(3/6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94F5D63A-42BA-79D5-BB52-2CC8489904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963" y="2560863"/>
            <a:ext cx="8748242" cy="3940209"/>
          </a:xfrm>
          <a:prstGeom prst="rect">
            <a:avLst/>
          </a:prstGeom>
        </p:spPr>
      </p:pic>
      <p:sp>
        <p:nvSpPr>
          <p:cNvPr id="5" name="文字版面配置區 14">
            <a:extLst>
              <a:ext uri="{FF2B5EF4-FFF2-40B4-BE49-F238E27FC236}">
                <a16:creationId xmlns:a16="http://schemas.microsoft.com/office/drawing/2014/main" id="{74FBC751-4F2E-9819-DBEE-4934E0FD3B53}"/>
              </a:ext>
            </a:extLst>
          </p:cNvPr>
          <p:cNvSpPr txBox="1">
            <a:spLocks/>
          </p:cNvSpPr>
          <p:nvPr/>
        </p:nvSpPr>
        <p:spPr>
          <a:xfrm>
            <a:off x="533401" y="17068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n example of Association with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lias, all fields of association could be selected</a:t>
            </a:r>
          </a:p>
        </p:txBody>
      </p:sp>
    </p:spTree>
    <p:extLst>
      <p:ext uri="{BB962C8B-B14F-4D97-AF65-F5344CB8AC3E}">
        <p14:creationId xmlns:p14="http://schemas.microsoft.com/office/powerpoint/2010/main" val="322581698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-- $projection(4/6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E3E9BED9-97A1-43CF-18F1-A30D546A4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6944" y="2431804"/>
            <a:ext cx="9535056" cy="4120352"/>
          </a:xfrm>
          <a:prstGeom prst="rect">
            <a:avLst/>
          </a:prstGeom>
        </p:spPr>
      </p:pic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0A729BF4-F10E-0A34-55EA-6FCD541B4F2A}"/>
              </a:ext>
            </a:extLst>
          </p:cNvPr>
          <p:cNvSpPr txBox="1">
            <a:spLocks/>
          </p:cNvSpPr>
          <p:nvPr/>
        </p:nvSpPr>
        <p:spPr>
          <a:xfrm>
            <a:off x="533400" y="1506465"/>
            <a:ext cx="11070335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The prefix $projection is used instead of the alias, only fields in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Select list could be selected</a:t>
            </a:r>
          </a:p>
        </p:txBody>
      </p:sp>
    </p:spTree>
    <p:extLst>
      <p:ext uri="{BB962C8B-B14F-4D97-AF65-F5344CB8AC3E}">
        <p14:creationId xmlns:p14="http://schemas.microsoft.com/office/powerpoint/2010/main" val="30170014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-- $projection(5/6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BC82E8E2-04DF-B61E-EAE3-F0914DDFDB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519" y="1821379"/>
            <a:ext cx="10152962" cy="435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7538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-- $projection(6/6)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701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Fields from select list</a:t>
            </a: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47AF867F-1E1A-96B6-567C-2C42B4CDA7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4242" y="1188662"/>
            <a:ext cx="5714969" cy="5195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7423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33586" y="802818"/>
            <a:ext cx="3518956" cy="867423"/>
          </a:xfrm>
          <a:prstGeom prst="rect">
            <a:avLst/>
          </a:prstGeom>
        </p:spPr>
        <p:txBody>
          <a:bodyPr lIns="121920" tIns="60960" rIns="121920" bIns="60960" anchor="ctr"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7200" b="1" dirty="0">
                <a:latin typeface="IBM Plex Sans" panose="020B0503050203000203" pitchFamily="34" charset="0"/>
                <a:ea typeface="微軟正黑體" panose="020B0604030504040204" pitchFamily="34" charset="-120"/>
                <a:cs typeface="Arial" pitchFamily="34" charset="0"/>
              </a:rPr>
              <a:t>Agenda</a:t>
            </a:r>
            <a:r>
              <a:rPr lang="en-US" sz="7200" dirty="0">
                <a:cs typeface="Arial" pitchFamily="34" charset="0"/>
              </a:rPr>
              <a:t> </a:t>
            </a:r>
          </a:p>
        </p:txBody>
      </p:sp>
      <p:grpSp>
        <p:nvGrpSpPr>
          <p:cNvPr id="2" name="群組 1"/>
          <p:cNvGrpSpPr/>
          <p:nvPr/>
        </p:nvGrpSpPr>
        <p:grpSpPr>
          <a:xfrm>
            <a:off x="3796648" y="947145"/>
            <a:ext cx="7430921" cy="739243"/>
            <a:chOff x="4550094" y="502920"/>
            <a:chExt cx="8917105" cy="887092"/>
          </a:xfrm>
        </p:grpSpPr>
        <p:sp>
          <p:nvSpPr>
            <p:cNvPr id="7" name="Rectangle 6"/>
            <p:cNvSpPr/>
            <p:nvPr/>
          </p:nvSpPr>
          <p:spPr>
            <a:xfrm>
              <a:off x="4595813" y="610962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8" name="Right Triangle 7"/>
            <p:cNvSpPr/>
            <p:nvPr/>
          </p:nvSpPr>
          <p:spPr>
            <a:xfrm rot="5400000">
              <a:off x="4624137" y="612986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550094" y="502920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1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3" name="TextBox 21"/>
            <p:cNvSpPr txBox="1"/>
            <p:nvPr/>
          </p:nvSpPr>
          <p:spPr>
            <a:xfrm>
              <a:off x="5680669" y="763683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de-DE" altLang="zh-CN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DS Views Introduction</a:t>
              </a:r>
              <a:endParaRPr lang="en-US" altLang="zh-CN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6" name="群組 5"/>
          <p:cNvGrpSpPr/>
          <p:nvPr/>
        </p:nvGrpSpPr>
        <p:grpSpPr>
          <a:xfrm>
            <a:off x="3796648" y="1765103"/>
            <a:ext cx="7430920" cy="739243"/>
            <a:chOff x="4560699" y="1563083"/>
            <a:chExt cx="8917104" cy="887092"/>
          </a:xfrm>
        </p:grpSpPr>
        <p:sp>
          <p:nvSpPr>
            <p:cNvPr id="33" name="Rectangle 6"/>
            <p:cNvSpPr/>
            <p:nvPr/>
          </p:nvSpPr>
          <p:spPr>
            <a:xfrm>
              <a:off x="4606417" y="1671125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4" name="Right Triangle 7"/>
            <p:cNvSpPr/>
            <p:nvPr/>
          </p:nvSpPr>
          <p:spPr>
            <a:xfrm rot="5400000">
              <a:off x="4634742" y="167315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5" name="TextBox 15"/>
            <p:cNvSpPr txBox="1"/>
            <p:nvPr/>
          </p:nvSpPr>
          <p:spPr>
            <a:xfrm>
              <a:off x="4560699" y="1563083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2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4" name="TextBox 21"/>
            <p:cNvSpPr txBox="1"/>
            <p:nvPr/>
          </p:nvSpPr>
          <p:spPr>
            <a:xfrm>
              <a:off x="5706515" y="1827058"/>
              <a:ext cx="7510384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reate CDS View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9" name="群組 8"/>
          <p:cNvGrpSpPr/>
          <p:nvPr/>
        </p:nvGrpSpPr>
        <p:grpSpPr>
          <a:xfrm>
            <a:off x="3796647" y="2728579"/>
            <a:ext cx="7430921" cy="739244"/>
            <a:chOff x="4555977" y="2634558"/>
            <a:chExt cx="8917105" cy="887093"/>
          </a:xfrm>
        </p:grpSpPr>
        <p:sp>
          <p:nvSpPr>
            <p:cNvPr id="39" name="Rectangle 6"/>
            <p:cNvSpPr/>
            <p:nvPr/>
          </p:nvSpPr>
          <p:spPr>
            <a:xfrm>
              <a:off x="4601696" y="274260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0" name="Right Triangle 7"/>
            <p:cNvSpPr/>
            <p:nvPr/>
          </p:nvSpPr>
          <p:spPr>
            <a:xfrm rot="5400000">
              <a:off x="4630020" y="274462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1" name="TextBox 15"/>
            <p:cNvSpPr txBox="1"/>
            <p:nvPr/>
          </p:nvSpPr>
          <p:spPr>
            <a:xfrm>
              <a:off x="4555977" y="2634558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3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5" name="TextBox 21"/>
            <p:cNvSpPr txBox="1"/>
            <p:nvPr/>
          </p:nvSpPr>
          <p:spPr>
            <a:xfrm>
              <a:off x="5701795" y="2845316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ardinality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10" name="群組 9"/>
          <p:cNvGrpSpPr/>
          <p:nvPr/>
        </p:nvGrpSpPr>
        <p:grpSpPr>
          <a:xfrm>
            <a:off x="3796648" y="3585257"/>
            <a:ext cx="7430921" cy="739243"/>
            <a:chOff x="4557382" y="3682075"/>
            <a:chExt cx="8917105" cy="887092"/>
          </a:xfrm>
        </p:grpSpPr>
        <p:sp>
          <p:nvSpPr>
            <p:cNvPr id="45" name="Rectangle 6"/>
            <p:cNvSpPr/>
            <p:nvPr/>
          </p:nvSpPr>
          <p:spPr>
            <a:xfrm>
              <a:off x="4603101" y="3790117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6" name="Right Triangle 7"/>
            <p:cNvSpPr/>
            <p:nvPr/>
          </p:nvSpPr>
          <p:spPr>
            <a:xfrm rot="5400000">
              <a:off x="4631425" y="3792142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7" name="TextBox 15"/>
            <p:cNvSpPr txBox="1"/>
            <p:nvPr/>
          </p:nvSpPr>
          <p:spPr>
            <a:xfrm>
              <a:off x="4557382" y="3682075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4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6" name="TextBox 21"/>
            <p:cNvSpPr txBox="1"/>
            <p:nvPr/>
          </p:nvSpPr>
          <p:spPr>
            <a:xfrm>
              <a:off x="5703198" y="3892831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Table function</a:t>
              </a:r>
            </a:p>
          </p:txBody>
        </p:sp>
      </p:grpSp>
      <p:grpSp>
        <p:nvGrpSpPr>
          <p:cNvPr id="11" name="群組 10"/>
          <p:cNvGrpSpPr/>
          <p:nvPr/>
        </p:nvGrpSpPr>
        <p:grpSpPr>
          <a:xfrm>
            <a:off x="3796648" y="4355109"/>
            <a:ext cx="7430921" cy="739243"/>
            <a:chOff x="4550094" y="4723989"/>
            <a:chExt cx="8917105" cy="887092"/>
          </a:xfrm>
        </p:grpSpPr>
        <p:sp>
          <p:nvSpPr>
            <p:cNvPr id="51" name="Rectangle 6"/>
            <p:cNvSpPr/>
            <p:nvPr/>
          </p:nvSpPr>
          <p:spPr>
            <a:xfrm>
              <a:off x="4595813" y="483203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2" name="Right Triangle 7"/>
            <p:cNvSpPr/>
            <p:nvPr/>
          </p:nvSpPr>
          <p:spPr>
            <a:xfrm rot="5400000">
              <a:off x="4624137" y="483405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3" name="TextBox 15"/>
            <p:cNvSpPr txBox="1"/>
            <p:nvPr/>
          </p:nvSpPr>
          <p:spPr>
            <a:xfrm>
              <a:off x="4550094" y="4723989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5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7" name="TextBox 21"/>
            <p:cNvSpPr txBox="1"/>
            <p:nvPr/>
          </p:nvSpPr>
          <p:spPr>
            <a:xfrm>
              <a:off x="5695910" y="4934747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VDM type and data category</a:t>
              </a:r>
            </a:p>
          </p:txBody>
        </p:sp>
      </p:grpSp>
      <p:grpSp>
        <p:nvGrpSpPr>
          <p:cNvPr id="12" name="群組 11"/>
          <p:cNvGrpSpPr/>
          <p:nvPr/>
        </p:nvGrpSpPr>
        <p:grpSpPr>
          <a:xfrm>
            <a:off x="3796648" y="5287127"/>
            <a:ext cx="7430920" cy="739243"/>
            <a:chOff x="4536179" y="5760904"/>
            <a:chExt cx="8917104" cy="887092"/>
          </a:xfrm>
        </p:grpSpPr>
        <p:sp>
          <p:nvSpPr>
            <p:cNvPr id="57" name="Rectangle 6"/>
            <p:cNvSpPr/>
            <p:nvPr/>
          </p:nvSpPr>
          <p:spPr>
            <a:xfrm>
              <a:off x="4581897" y="5868946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8" name="Right Triangle 7"/>
            <p:cNvSpPr/>
            <p:nvPr/>
          </p:nvSpPr>
          <p:spPr>
            <a:xfrm rot="5400000">
              <a:off x="4610222" y="587097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9" name="TextBox 15"/>
            <p:cNvSpPr txBox="1"/>
            <p:nvPr/>
          </p:nvSpPr>
          <p:spPr>
            <a:xfrm>
              <a:off x="4536179" y="5760904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6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8" name="TextBox 21"/>
            <p:cNvSpPr txBox="1"/>
            <p:nvPr/>
          </p:nvSpPr>
          <p:spPr>
            <a:xfrm>
              <a:off x="5681995" y="5971660"/>
              <a:ext cx="7510384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Anno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20593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Table function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3546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800" b="1" kern="0" dirty="0">
                <a:latin typeface="Arial" panose="020B0604020202020204" pitchFamily="34" charset="0"/>
                <a:cs typeface="Arial" panose="020B0604020202020204" pitchFamily="34" charset="0"/>
              </a:rPr>
              <a:t>Additional Functionalities which is not supported in the CDS. For example: “</a:t>
            </a:r>
            <a:r>
              <a:rPr lang="en-US" altLang="zh-TW" sz="28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Orderby”is</a:t>
            </a:r>
            <a:r>
              <a:rPr lang="en-US" altLang="zh-TW" sz="2800" b="1" kern="0" dirty="0">
                <a:latin typeface="Arial" panose="020B0604020202020204" pitchFamily="34" charset="0"/>
                <a:cs typeface="Arial" panose="020B0604020202020204" pitchFamily="34" charset="0"/>
              </a:rPr>
              <a:t> not possible in ABAP CDS View</a:t>
            </a:r>
            <a:r>
              <a:rPr lang="zh-TW" altLang="en-US" sz="2800" b="1" kern="0" dirty="0">
                <a:latin typeface="Arial" panose="020B0604020202020204" pitchFamily="34" charset="0"/>
                <a:cs typeface="Arial" panose="020B0604020202020204" pitchFamily="34" charset="0"/>
              </a:rPr>
              <a:t>；</a:t>
            </a:r>
            <a:endParaRPr lang="en-US" altLang="zh-TW" sz="28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800" b="1" kern="0" dirty="0">
                <a:latin typeface="Arial" panose="020B0604020202020204" pitchFamily="34" charset="0"/>
                <a:cs typeface="Arial" panose="020B0604020202020204" pitchFamily="34" charset="0"/>
              </a:rPr>
              <a:t>Write SQL statements for the requirement.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800" b="1" kern="0" dirty="0">
                <a:latin typeface="Arial" panose="020B0604020202020204" pitchFamily="34" charset="0"/>
                <a:cs typeface="Arial" panose="020B0604020202020204" pitchFamily="34" charset="0"/>
              </a:rPr>
              <a:t>SQL Script functions and methodologies.</a:t>
            </a:r>
          </a:p>
        </p:txBody>
      </p:sp>
    </p:spTree>
    <p:extLst>
      <p:ext uri="{BB962C8B-B14F-4D97-AF65-F5344CB8AC3E}">
        <p14:creationId xmlns:p14="http://schemas.microsoft.com/office/powerpoint/2010/main" val="28633809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About Core Data Service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圖片版面配置區 2">
            <a:extLst>
              <a:ext uri="{FF2B5EF4-FFF2-40B4-BE49-F238E27FC236}">
                <a16:creationId xmlns:a16="http://schemas.microsoft.com/office/drawing/2014/main" id="{56F730D4-D6EE-243A-2725-BE32D48F1C4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t="1119" b="1119"/>
          <a:stretch/>
        </p:blipFill>
        <p:spPr>
          <a:xfrm>
            <a:off x="0" y="1701800"/>
            <a:ext cx="12192000" cy="4711357"/>
          </a:xfrm>
        </p:spPr>
      </p:pic>
    </p:spTree>
    <p:extLst>
      <p:ext uri="{BB962C8B-B14F-4D97-AF65-F5344CB8AC3E}">
        <p14:creationId xmlns:p14="http://schemas.microsoft.com/office/powerpoint/2010/main" val="254764867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Table function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1432058" cy="40642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Has optional 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inputparameters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Has return parameters(multiple records).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-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Kind of internal table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Needs Class and Methods to define.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一 </a:t>
            </a:r>
            <a:r>
              <a:rPr lang="en-US" altLang="zh-TW" sz="2400" b="1" kern="0" dirty="0" err="1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:Public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zh-TW" sz="2400" b="1" kern="0" dirty="0" err="1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:Static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Interface: 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_AMDP_MARKER_HDB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4857530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Table function</a:t>
            </a:r>
            <a:r>
              <a:rPr lang="zh-TW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Technical Design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3853433" cy="40642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 table function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efine class and methods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onsume table function in CDS view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群組 29">
            <a:extLst>
              <a:ext uri="{FF2B5EF4-FFF2-40B4-BE49-F238E27FC236}">
                <a16:creationId xmlns:a16="http://schemas.microsoft.com/office/drawing/2014/main" id="{C8F63AF2-A47F-4E22-AF74-08ACC52090E2}"/>
              </a:ext>
            </a:extLst>
          </p:cNvPr>
          <p:cNvGrpSpPr/>
          <p:nvPr/>
        </p:nvGrpSpPr>
        <p:grpSpPr>
          <a:xfrm>
            <a:off x="4673927" y="1453896"/>
            <a:ext cx="7137072" cy="4337362"/>
            <a:chOff x="4673927" y="1453896"/>
            <a:chExt cx="7137072" cy="4337362"/>
          </a:xfrm>
        </p:grpSpPr>
        <p:sp>
          <p:nvSpPr>
            <p:cNvPr id="8" name="矩形: 圓角 7">
              <a:extLst>
                <a:ext uri="{FF2B5EF4-FFF2-40B4-BE49-F238E27FC236}">
                  <a16:creationId xmlns:a16="http://schemas.microsoft.com/office/drawing/2014/main" id="{02346662-BF8C-8B99-13FF-DFD103334303}"/>
                </a:ext>
              </a:extLst>
            </p:cNvPr>
            <p:cNvSpPr/>
            <p:nvPr/>
          </p:nvSpPr>
          <p:spPr bwMode="auto">
            <a:xfrm>
              <a:off x="7388182" y="4906675"/>
              <a:ext cx="2753139" cy="884583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0" algn="ctr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lang="en-US" altLang="zh-TW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JhengHei Light" panose="020B0304030504040204" pitchFamily="34" charset="-120"/>
                  <a:cs typeface="Arial" panose="020B0604020202020204" pitchFamily="34" charset="0"/>
                </a:rPr>
                <a:t>Class and Methods</a:t>
              </a:r>
              <a:endParaRPr kumimoji="0" lang="zh-TW" altLang="en-US" sz="16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endParaRPr>
            </a:p>
          </p:txBody>
        </p:sp>
        <p:sp>
          <p:nvSpPr>
            <p:cNvPr id="14" name="矩形: 圓角 13">
              <a:extLst>
                <a:ext uri="{FF2B5EF4-FFF2-40B4-BE49-F238E27FC236}">
                  <a16:creationId xmlns:a16="http://schemas.microsoft.com/office/drawing/2014/main" id="{09248CFC-CDD7-B596-AEC9-4E226DB3503A}"/>
                </a:ext>
              </a:extLst>
            </p:cNvPr>
            <p:cNvSpPr/>
            <p:nvPr/>
          </p:nvSpPr>
          <p:spPr bwMode="auto">
            <a:xfrm>
              <a:off x="5611009" y="1468625"/>
              <a:ext cx="1909950" cy="884583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lang="en-US" altLang="zh-TW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JhengHei Light" panose="020B0304030504040204" pitchFamily="34" charset="-120"/>
                  <a:cs typeface="Arial" panose="020B0604020202020204" pitchFamily="34" charset="0"/>
                </a:rPr>
                <a:t>CDS View 1</a:t>
              </a:r>
              <a:endParaRPr kumimoji="0" lang="zh-TW" altLang="en-US" sz="16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endParaRPr>
            </a:p>
          </p:txBody>
        </p:sp>
        <p:cxnSp>
          <p:nvCxnSpPr>
            <p:cNvPr id="17" name="接點: 肘形 16">
              <a:extLst>
                <a:ext uri="{FF2B5EF4-FFF2-40B4-BE49-F238E27FC236}">
                  <a16:creationId xmlns:a16="http://schemas.microsoft.com/office/drawing/2014/main" id="{7DE86C54-3FCF-8D58-FA10-576C5E3C1A81}"/>
                </a:ext>
              </a:extLst>
            </p:cNvPr>
            <p:cNvCxnSpPr>
              <a:cxnSpLocks/>
              <a:stCxn id="21" idx="0"/>
              <a:endCxn id="14" idx="2"/>
            </p:cNvCxnSpPr>
            <p:nvPr/>
          </p:nvCxnSpPr>
          <p:spPr bwMode="auto">
            <a:xfrm rot="16200000" flipV="1">
              <a:off x="7191741" y="1727451"/>
              <a:ext cx="947256" cy="219876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1" name="矩形: 圓角 20">
              <a:extLst>
                <a:ext uri="{FF2B5EF4-FFF2-40B4-BE49-F238E27FC236}">
                  <a16:creationId xmlns:a16="http://schemas.microsoft.com/office/drawing/2014/main" id="{27525A08-65E8-A15C-F80B-01A08B0E13D0}"/>
                </a:ext>
              </a:extLst>
            </p:cNvPr>
            <p:cNvSpPr/>
            <p:nvPr/>
          </p:nvSpPr>
          <p:spPr bwMode="auto">
            <a:xfrm>
              <a:off x="7388183" y="3300464"/>
              <a:ext cx="2753139" cy="884583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0" algn="ctr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lang="en-US" altLang="zh-TW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JhengHei Light" panose="020B0304030504040204" pitchFamily="34" charset="-120"/>
                  <a:cs typeface="Arial" panose="020B0604020202020204" pitchFamily="34" charset="0"/>
                </a:rPr>
                <a:t>Table Function</a:t>
              </a:r>
              <a:endParaRPr kumimoji="0" lang="zh-TW" altLang="en-US" sz="16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endParaRPr>
            </a:p>
          </p:txBody>
        </p:sp>
        <p:cxnSp>
          <p:nvCxnSpPr>
            <p:cNvPr id="23" name="接點: 肘形 22">
              <a:extLst>
                <a:ext uri="{FF2B5EF4-FFF2-40B4-BE49-F238E27FC236}">
                  <a16:creationId xmlns:a16="http://schemas.microsoft.com/office/drawing/2014/main" id="{6DCEC4B4-45F3-03B2-A1E6-BECC2B9F18AA}"/>
                </a:ext>
              </a:extLst>
            </p:cNvPr>
            <p:cNvCxnSpPr>
              <a:cxnSpLocks/>
              <a:stCxn id="8" idx="0"/>
              <a:endCxn id="21" idx="2"/>
            </p:cNvCxnSpPr>
            <p:nvPr/>
          </p:nvCxnSpPr>
          <p:spPr bwMode="auto">
            <a:xfrm rot="5400000" flipH="1" flipV="1">
              <a:off x="8403938" y="4545861"/>
              <a:ext cx="721628" cy="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" name="矩形: 圓角 4">
              <a:extLst>
                <a:ext uri="{FF2B5EF4-FFF2-40B4-BE49-F238E27FC236}">
                  <a16:creationId xmlns:a16="http://schemas.microsoft.com/office/drawing/2014/main" id="{57A343BA-EE15-547E-7117-4321620ECBE4}"/>
                </a:ext>
              </a:extLst>
            </p:cNvPr>
            <p:cNvSpPr/>
            <p:nvPr/>
          </p:nvSpPr>
          <p:spPr bwMode="auto">
            <a:xfrm>
              <a:off x="9901049" y="1453896"/>
              <a:ext cx="1909950" cy="884583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lang="en-US" altLang="zh-TW" sz="1600" b="1" dirty="0">
                  <a:solidFill>
                    <a:schemeClr val="tx1"/>
                  </a:solidFill>
                  <a:latin typeface="Arial" panose="020B0604020202020204" pitchFamily="34" charset="0"/>
                  <a:ea typeface="Microsoft JhengHei Light" panose="020B0304030504040204" pitchFamily="34" charset="-120"/>
                  <a:cs typeface="Arial" panose="020B0604020202020204" pitchFamily="34" charset="0"/>
                </a:rPr>
                <a:t>CDS View 2</a:t>
              </a:r>
              <a:endParaRPr kumimoji="0" lang="zh-TW" altLang="en-US" sz="16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endParaRPr>
            </a:p>
          </p:txBody>
        </p:sp>
        <p:cxnSp>
          <p:nvCxnSpPr>
            <p:cNvPr id="7" name="接點: 肘形 6">
              <a:extLst>
                <a:ext uri="{FF2B5EF4-FFF2-40B4-BE49-F238E27FC236}">
                  <a16:creationId xmlns:a16="http://schemas.microsoft.com/office/drawing/2014/main" id="{FDCC5896-77A5-86D2-E11F-4F2E0F1E4480}"/>
                </a:ext>
              </a:extLst>
            </p:cNvPr>
            <p:cNvCxnSpPr>
              <a:cxnSpLocks/>
              <a:stCxn id="21" idx="0"/>
              <a:endCxn id="5" idx="2"/>
            </p:cNvCxnSpPr>
            <p:nvPr/>
          </p:nvCxnSpPr>
          <p:spPr bwMode="auto">
            <a:xfrm rot="5400000" flipH="1" flipV="1">
              <a:off x="9329396" y="1773837"/>
              <a:ext cx="961985" cy="209127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橢圓 23">
              <a:extLst>
                <a:ext uri="{FF2B5EF4-FFF2-40B4-BE49-F238E27FC236}">
                  <a16:creationId xmlns:a16="http://schemas.microsoft.com/office/drawing/2014/main" id="{0EE7BADB-8132-E98A-45D1-9F37765A2008}"/>
                </a:ext>
              </a:extLst>
            </p:cNvPr>
            <p:cNvSpPr/>
            <p:nvPr/>
          </p:nvSpPr>
          <p:spPr bwMode="auto">
            <a:xfrm>
              <a:off x="6364705" y="3453059"/>
              <a:ext cx="625642" cy="599636"/>
            </a:xfrm>
            <a:prstGeom prst="ellipse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kumimoji="0" lang="en-US" altLang="zh-TW" sz="2000" b="0" i="0" u="none" strike="noStrike" cap="none" normalizeH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kumimoji="0" lang="zh-TW" altLang="en-US" sz="2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橢圓 26">
              <a:extLst>
                <a:ext uri="{FF2B5EF4-FFF2-40B4-BE49-F238E27FC236}">
                  <a16:creationId xmlns:a16="http://schemas.microsoft.com/office/drawing/2014/main" id="{C06CF72E-BF7B-2719-88B3-56DC861ACD17}"/>
                </a:ext>
              </a:extLst>
            </p:cNvPr>
            <p:cNvSpPr/>
            <p:nvPr/>
          </p:nvSpPr>
          <p:spPr bwMode="auto">
            <a:xfrm>
              <a:off x="6364705" y="5041232"/>
              <a:ext cx="625642" cy="599636"/>
            </a:xfrm>
            <a:prstGeom prst="ellipse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lang="en-US" altLang="zh-TW" sz="2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kumimoji="0" lang="zh-TW" altLang="en-US" sz="2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橢圓 27">
              <a:extLst>
                <a:ext uri="{FF2B5EF4-FFF2-40B4-BE49-F238E27FC236}">
                  <a16:creationId xmlns:a16="http://schemas.microsoft.com/office/drawing/2014/main" id="{E55038BA-7297-13A3-E923-57B7EE9B5A96}"/>
                </a:ext>
              </a:extLst>
            </p:cNvPr>
            <p:cNvSpPr/>
            <p:nvPr/>
          </p:nvSpPr>
          <p:spPr bwMode="auto">
            <a:xfrm>
              <a:off x="4673927" y="1596369"/>
              <a:ext cx="625642" cy="599636"/>
            </a:xfrm>
            <a:prstGeom prst="ellipse">
              <a:avLst/>
            </a:prstGeom>
            <a:noFill/>
            <a:ln w="19050">
              <a:solidFill>
                <a:srgbClr val="00B05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kumimoji="0" lang="en-US" altLang="zh-TW" sz="2000" b="0" i="0" u="none" strike="noStrike" cap="none" normalizeH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zh-TW" altLang="en-US" sz="2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210809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 table function</a:t>
            </a:r>
            <a:b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3853433" cy="44131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Key words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efine Table function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Return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Implemented by method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With Parameters (optional)</a:t>
            </a:r>
          </a:p>
          <a:p>
            <a:pPr marL="457200" indent="-457200" defTabSz="914400">
              <a:buFont typeface="+mj-lt"/>
              <a:buAutoNum type="arabicPeriod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996CB3D2-ACDE-67F5-4FDE-095088C58D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5926" y="1554481"/>
            <a:ext cx="7449582" cy="406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30020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define class and methods for table function</a:t>
            </a:r>
            <a:b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3685673" cy="51591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Key words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Implement interface IF_AMDP_MARKER_HDB 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Declare class method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Return result</a:t>
            </a:r>
          </a:p>
          <a:p>
            <a:pPr defTabSz="914400"/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Error</a:t>
            </a: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altLang="zh-TW" sz="1800" b="1" kern="0" dirty="0">
                <a:latin typeface="Arial" panose="020B0604020202020204" pitchFamily="34" charset="0"/>
                <a:cs typeface="Arial" panose="020B0604020202020204" pitchFamily="34" charset="0"/>
              </a:rPr>
              <a:t>XXXX is unknown. ABAP objects and DDIC objects must be declared in the USING clause …</a:t>
            </a: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altLang="zh-TW" sz="1800" b="1" kern="0" dirty="0">
                <a:latin typeface="Arial" panose="020B0604020202020204" pitchFamily="34" charset="0"/>
                <a:cs typeface="Arial" panose="020B0604020202020204" pitchFamily="34" charset="0"/>
              </a:rPr>
              <a:t>return type mismatch …</a:t>
            </a: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7E2D8F55-B43D-C697-00B1-AF2AC72678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1947" y="1554481"/>
            <a:ext cx="7733867" cy="4583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77836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onsume table function in CDS view(1/2)</a:t>
            </a:r>
            <a:b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477254" y="1453896"/>
            <a:ext cx="4261701" cy="1937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Simple case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2CE7C4AD-22F7-1FD6-7275-A03BAC3232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229" y="2422437"/>
            <a:ext cx="10322277" cy="2384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18427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onsume table function in CDS view(2/2)</a:t>
            </a:r>
            <a:b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477254" y="1453896"/>
            <a:ext cx="3096125" cy="1937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Join table function and table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2E506DE4-E46A-68DD-CBBE-CED4BBFFC9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8305" y="1466935"/>
            <a:ext cx="7225431" cy="5030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62923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Table function concept /methodology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1" y="1554481"/>
            <a:ext cx="10940715" cy="40642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Based on the previous data, 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 the records from database table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Local variable declaration. 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ata handling in the SQL statement. 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SQL Functions. 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Usage of table DUMMY. </a:t>
            </a:r>
          </a:p>
          <a:p>
            <a:pPr marL="457200" indent="-457200" defTabSz="914400">
              <a:buFont typeface="+mj-lt"/>
              <a:buAutoNum type="arabicPeriod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IF condition. </a:t>
            </a:r>
          </a:p>
        </p:txBody>
      </p:sp>
    </p:spTree>
    <p:extLst>
      <p:ext uri="{BB962C8B-B14F-4D97-AF65-F5344CB8AC3E}">
        <p14:creationId xmlns:p14="http://schemas.microsoft.com/office/powerpoint/2010/main" val="108884925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Table function--</a:t>
            </a:r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 Local variable declaration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2" y="1554481"/>
            <a:ext cx="4335378" cy="40642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eclare local variable.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eclare internal table in the select statement.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Usage of table DUMMY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IF condition.</a:t>
            </a:r>
          </a:p>
          <a:p>
            <a:pPr defTabSz="914400"/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 defTabSz="914400">
              <a:buFont typeface="+mj-lt"/>
              <a:buAutoNum type="arabicPeriod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75F7A39E-1164-6239-69B0-3B53CA6FA7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6380" y="1151815"/>
            <a:ext cx="7037341" cy="533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66858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with sorting process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字版面配置區 14">
            <a:extLst>
              <a:ext uri="{FF2B5EF4-FFF2-40B4-BE49-F238E27FC236}">
                <a16:creationId xmlns:a16="http://schemas.microsoft.com/office/drawing/2014/main" id="{9CBBC9CA-ED74-5463-409A-E7DBA36BF7A7}"/>
              </a:ext>
            </a:extLst>
          </p:cNvPr>
          <p:cNvSpPr txBox="1">
            <a:spLocks/>
          </p:cNvSpPr>
          <p:nvPr/>
        </p:nvSpPr>
        <p:spPr>
          <a:xfrm>
            <a:off x="381001" y="1554480"/>
            <a:ext cx="11432058" cy="39319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Orderby”is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possible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inABAP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DS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View.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lternative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option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chieve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process.</a:t>
            </a:r>
          </a:p>
          <a:p>
            <a:pPr marL="761988" lvl="2" indent="-4572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Table Function.</a:t>
            </a:r>
          </a:p>
          <a:p>
            <a:pPr marL="761988" lvl="2" indent="-4572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In CDS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MAX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function.</a:t>
            </a:r>
          </a:p>
        </p:txBody>
      </p:sp>
    </p:spTree>
    <p:extLst>
      <p:ext uri="{BB962C8B-B14F-4D97-AF65-F5344CB8AC3E}">
        <p14:creationId xmlns:p14="http://schemas.microsoft.com/office/powerpoint/2010/main" val="1254880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sorting via table function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75FB1B2-11E7-5A6F-BCA7-0D4FAD4284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599528"/>
            <a:ext cx="4914900" cy="252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F91EB980-03AD-B054-E9C3-2EF1E46E26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0311" y="2861590"/>
            <a:ext cx="6848475" cy="350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09810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What is SAP CDS Views?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Core Data Service (CDS) Views are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 data models 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of SAP HANA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SAP CDS Views came into being with SAP’s new programming model.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sh logic from the application server to the client-side and database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This is defined by SAP as ‘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e -to-Data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’ or ‘Code Pushdown’.</a:t>
            </a:r>
          </a:p>
          <a:p>
            <a:endParaRPr lang="zh-TW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24833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DS View sorting via MAX function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D99D62B2-914D-E5C4-AE35-0BEF5C7F3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371341"/>
            <a:ext cx="6320590" cy="2541977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37B22684-B673-F5A0-68EA-146116802B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7635" y="3221684"/>
            <a:ext cx="6976101" cy="2931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91256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33586" y="802818"/>
            <a:ext cx="3518956" cy="867423"/>
          </a:xfrm>
          <a:prstGeom prst="rect">
            <a:avLst/>
          </a:prstGeom>
        </p:spPr>
        <p:txBody>
          <a:bodyPr lIns="121920" tIns="60960" rIns="121920" bIns="60960" anchor="ctr"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7200" b="1" dirty="0">
                <a:latin typeface="IBM Plex Sans" panose="020B0503050203000203" pitchFamily="34" charset="0"/>
                <a:ea typeface="微軟正黑體" panose="020B0604030504040204" pitchFamily="34" charset="-120"/>
                <a:cs typeface="Arial" pitchFamily="34" charset="0"/>
              </a:rPr>
              <a:t>Agenda</a:t>
            </a:r>
            <a:r>
              <a:rPr lang="en-US" sz="7200" dirty="0">
                <a:cs typeface="Arial" pitchFamily="34" charset="0"/>
              </a:rPr>
              <a:t> </a:t>
            </a:r>
          </a:p>
        </p:txBody>
      </p:sp>
      <p:grpSp>
        <p:nvGrpSpPr>
          <p:cNvPr id="2" name="群組 1"/>
          <p:cNvGrpSpPr/>
          <p:nvPr/>
        </p:nvGrpSpPr>
        <p:grpSpPr>
          <a:xfrm>
            <a:off x="3796648" y="947145"/>
            <a:ext cx="7430921" cy="739243"/>
            <a:chOff x="4550094" y="502920"/>
            <a:chExt cx="8917105" cy="887092"/>
          </a:xfrm>
        </p:grpSpPr>
        <p:sp>
          <p:nvSpPr>
            <p:cNvPr id="7" name="Rectangle 6"/>
            <p:cNvSpPr/>
            <p:nvPr/>
          </p:nvSpPr>
          <p:spPr>
            <a:xfrm>
              <a:off x="4595813" y="610962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8" name="Right Triangle 7"/>
            <p:cNvSpPr/>
            <p:nvPr/>
          </p:nvSpPr>
          <p:spPr>
            <a:xfrm rot="5400000">
              <a:off x="4624137" y="612986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550094" y="502920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1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3" name="TextBox 21"/>
            <p:cNvSpPr txBox="1"/>
            <p:nvPr/>
          </p:nvSpPr>
          <p:spPr>
            <a:xfrm>
              <a:off x="5680669" y="763683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de-DE" altLang="zh-CN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DS Views Introduction</a:t>
              </a:r>
              <a:endParaRPr lang="en-US" altLang="zh-CN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6" name="群組 5"/>
          <p:cNvGrpSpPr/>
          <p:nvPr/>
        </p:nvGrpSpPr>
        <p:grpSpPr>
          <a:xfrm>
            <a:off x="3796648" y="1765103"/>
            <a:ext cx="7430920" cy="739243"/>
            <a:chOff x="4560699" y="1563083"/>
            <a:chExt cx="8917104" cy="887092"/>
          </a:xfrm>
        </p:grpSpPr>
        <p:sp>
          <p:nvSpPr>
            <p:cNvPr id="33" name="Rectangle 6"/>
            <p:cNvSpPr/>
            <p:nvPr/>
          </p:nvSpPr>
          <p:spPr>
            <a:xfrm>
              <a:off x="4606417" y="1671125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4" name="Right Triangle 7"/>
            <p:cNvSpPr/>
            <p:nvPr/>
          </p:nvSpPr>
          <p:spPr>
            <a:xfrm rot="5400000">
              <a:off x="4634742" y="167315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5" name="TextBox 15"/>
            <p:cNvSpPr txBox="1"/>
            <p:nvPr/>
          </p:nvSpPr>
          <p:spPr>
            <a:xfrm>
              <a:off x="4560699" y="1563083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2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4" name="TextBox 21"/>
            <p:cNvSpPr txBox="1"/>
            <p:nvPr/>
          </p:nvSpPr>
          <p:spPr>
            <a:xfrm>
              <a:off x="5706515" y="1827058"/>
              <a:ext cx="7510384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reate CDS View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9" name="群組 8"/>
          <p:cNvGrpSpPr/>
          <p:nvPr/>
        </p:nvGrpSpPr>
        <p:grpSpPr>
          <a:xfrm>
            <a:off x="3796647" y="2728579"/>
            <a:ext cx="7430921" cy="739244"/>
            <a:chOff x="4555977" y="2634558"/>
            <a:chExt cx="8917105" cy="887093"/>
          </a:xfrm>
        </p:grpSpPr>
        <p:sp>
          <p:nvSpPr>
            <p:cNvPr id="39" name="Rectangle 6"/>
            <p:cNvSpPr/>
            <p:nvPr/>
          </p:nvSpPr>
          <p:spPr>
            <a:xfrm>
              <a:off x="4601696" y="274260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0" name="Right Triangle 7"/>
            <p:cNvSpPr/>
            <p:nvPr/>
          </p:nvSpPr>
          <p:spPr>
            <a:xfrm rot="5400000">
              <a:off x="4630020" y="274462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1" name="TextBox 15"/>
            <p:cNvSpPr txBox="1"/>
            <p:nvPr/>
          </p:nvSpPr>
          <p:spPr>
            <a:xfrm>
              <a:off x="4555977" y="2634558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3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5" name="TextBox 21"/>
            <p:cNvSpPr txBox="1"/>
            <p:nvPr/>
          </p:nvSpPr>
          <p:spPr>
            <a:xfrm>
              <a:off x="5701795" y="2845316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ardinality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10" name="群組 9"/>
          <p:cNvGrpSpPr/>
          <p:nvPr/>
        </p:nvGrpSpPr>
        <p:grpSpPr>
          <a:xfrm>
            <a:off x="3796648" y="3585257"/>
            <a:ext cx="7430921" cy="739243"/>
            <a:chOff x="4557382" y="3682075"/>
            <a:chExt cx="8917105" cy="887092"/>
          </a:xfrm>
        </p:grpSpPr>
        <p:sp>
          <p:nvSpPr>
            <p:cNvPr id="45" name="Rectangle 6"/>
            <p:cNvSpPr/>
            <p:nvPr/>
          </p:nvSpPr>
          <p:spPr>
            <a:xfrm>
              <a:off x="4603101" y="3790117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6" name="Right Triangle 7"/>
            <p:cNvSpPr/>
            <p:nvPr/>
          </p:nvSpPr>
          <p:spPr>
            <a:xfrm rot="5400000">
              <a:off x="4631425" y="3792142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7" name="TextBox 15"/>
            <p:cNvSpPr txBox="1"/>
            <p:nvPr/>
          </p:nvSpPr>
          <p:spPr>
            <a:xfrm>
              <a:off x="4557382" y="3682075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4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6" name="TextBox 21"/>
            <p:cNvSpPr txBox="1"/>
            <p:nvPr/>
          </p:nvSpPr>
          <p:spPr>
            <a:xfrm>
              <a:off x="5703198" y="3892831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Table function</a:t>
              </a:r>
            </a:p>
          </p:txBody>
        </p:sp>
      </p:grpSp>
      <p:grpSp>
        <p:nvGrpSpPr>
          <p:cNvPr id="11" name="群組 10"/>
          <p:cNvGrpSpPr/>
          <p:nvPr/>
        </p:nvGrpSpPr>
        <p:grpSpPr>
          <a:xfrm>
            <a:off x="3796648" y="4355109"/>
            <a:ext cx="7430921" cy="739243"/>
            <a:chOff x="4550094" y="4723989"/>
            <a:chExt cx="8917105" cy="887092"/>
          </a:xfrm>
        </p:grpSpPr>
        <p:sp>
          <p:nvSpPr>
            <p:cNvPr id="51" name="Rectangle 6"/>
            <p:cNvSpPr/>
            <p:nvPr/>
          </p:nvSpPr>
          <p:spPr>
            <a:xfrm>
              <a:off x="4595813" y="483203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2" name="Right Triangle 7"/>
            <p:cNvSpPr/>
            <p:nvPr/>
          </p:nvSpPr>
          <p:spPr>
            <a:xfrm rot="5400000">
              <a:off x="4624137" y="483405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3" name="TextBox 15"/>
            <p:cNvSpPr txBox="1"/>
            <p:nvPr/>
          </p:nvSpPr>
          <p:spPr>
            <a:xfrm>
              <a:off x="4550094" y="4723989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5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7" name="TextBox 21"/>
            <p:cNvSpPr txBox="1"/>
            <p:nvPr/>
          </p:nvSpPr>
          <p:spPr>
            <a:xfrm>
              <a:off x="5695910" y="4934747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VDM type and data category</a:t>
              </a:r>
            </a:p>
          </p:txBody>
        </p:sp>
      </p:grpSp>
      <p:grpSp>
        <p:nvGrpSpPr>
          <p:cNvPr id="12" name="群組 11"/>
          <p:cNvGrpSpPr/>
          <p:nvPr/>
        </p:nvGrpSpPr>
        <p:grpSpPr>
          <a:xfrm>
            <a:off x="3796648" y="5287127"/>
            <a:ext cx="7430920" cy="739243"/>
            <a:chOff x="4536179" y="5760904"/>
            <a:chExt cx="8917104" cy="887092"/>
          </a:xfrm>
        </p:grpSpPr>
        <p:sp>
          <p:nvSpPr>
            <p:cNvPr id="57" name="Rectangle 6"/>
            <p:cNvSpPr/>
            <p:nvPr/>
          </p:nvSpPr>
          <p:spPr>
            <a:xfrm>
              <a:off x="4581897" y="5868946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8" name="Right Triangle 7"/>
            <p:cNvSpPr/>
            <p:nvPr/>
          </p:nvSpPr>
          <p:spPr>
            <a:xfrm rot="5400000">
              <a:off x="4610222" y="587097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9" name="TextBox 15"/>
            <p:cNvSpPr txBox="1"/>
            <p:nvPr/>
          </p:nvSpPr>
          <p:spPr>
            <a:xfrm>
              <a:off x="4536179" y="5760904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6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8" name="TextBox 21"/>
            <p:cNvSpPr txBox="1"/>
            <p:nvPr/>
          </p:nvSpPr>
          <p:spPr>
            <a:xfrm>
              <a:off x="5681995" y="5971660"/>
              <a:ext cx="7510384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Anno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429565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Virtual Data Model(VDM)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2" y="1554481"/>
            <a:ext cx="11222734" cy="40642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5385205-1630-FC53-6753-D4D198C1F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798" y="1554481"/>
            <a:ext cx="8335022" cy="4641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009935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VDM Consumption views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2" y="1554481"/>
            <a:ext cx="11222734" cy="40642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795BA904-D5A8-F1F9-D3EA-CC89E974DE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3606" y="1239253"/>
            <a:ext cx="7986195" cy="510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57498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Benefits of VDM</a:t>
            </a:r>
            <a:b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2" y="1554481"/>
            <a:ext cx="11222734" cy="40642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81EF9CFD-F5A9-0E2B-D73B-78D8CE893809}"/>
              </a:ext>
            </a:extLst>
          </p:cNvPr>
          <p:cNvSpPr txBox="1">
            <a:spLocks/>
          </p:cNvSpPr>
          <p:nvPr/>
        </p:nvSpPr>
        <p:spPr>
          <a:xfrm>
            <a:off x="381002" y="1554481"/>
            <a:ext cx="11222734" cy="40642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 performance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sibility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and privacy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: Full ABAP integration, allowing for instance to re-use existing reporting authorizations, etc.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ence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: Build consistent calculations like deviations, margins etc.</a:t>
            </a:r>
          </a:p>
          <a:p>
            <a:pPr marL="457200" indent="-457200" defTabSz="914400">
              <a:buFont typeface="Arial" panose="020B0604020202020204" pitchFamily="34" charset="0"/>
              <a:buChar char="•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DS Views are not application-specific but 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ross-applications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due to Joins but without redundant physical data. </a:t>
            </a:r>
          </a:p>
          <a:p>
            <a:pPr marL="457200" indent="-457200" defTabSz="914400">
              <a:buFont typeface="+mj-lt"/>
              <a:buAutoNum type="arabicPeriod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07259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About VDM (Virtual Data Model) Functionality 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2" y="1554481"/>
            <a:ext cx="11222734" cy="45214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Enriched Data Model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VDM is intended to be interpreted by view browsers and other functionality which is based on the virtual data model. So, 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se views can be consumed directly by rich client UIs (such as HTML5, SAP BusinessObjects, and Excel) without any additional software layer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VDM View Types </a:t>
            </a:r>
          </a:p>
          <a:p>
            <a:pPr marL="914382" lvl="3" indent="-457200" defTabSz="914400"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‧ Basic </a:t>
            </a:r>
          </a:p>
          <a:p>
            <a:pPr marL="914382" lvl="3" indent="-457200" defTabSz="914400"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‧ Composite </a:t>
            </a:r>
          </a:p>
          <a:p>
            <a:pPr marL="914382" lvl="3" indent="-457200" defTabSz="914400"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‧ Consumption  </a:t>
            </a:r>
          </a:p>
          <a:p>
            <a:pPr marL="457200" indent="-457200" defTabSz="914400">
              <a:buFont typeface="+mj-lt"/>
              <a:buAutoNum type="arabicPeriod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87478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VDM View Types </a:t>
            </a: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2" y="1554481"/>
            <a:ext cx="3300661" cy="45214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Basic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omposite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onsumption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30FB93E-917E-8C63-26AF-BDEA6F86DA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8041" y="1453896"/>
            <a:ext cx="8265695" cy="3730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164572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Hierarchy of VDM types</a:t>
            </a: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0" y="1181504"/>
            <a:ext cx="5610724" cy="55861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Basic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d on top of DDIC tables/views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Interact with DB to fetch data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Source: Table/View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Syntax: @VDM.Viewtype: #BASIC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omposite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d on top of BASIC view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Doesn't interact with DB to fetch data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Multiple Basic views can be used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Source: Basic View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syntax: @VDM.Viewtype: #COMPOSITE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onsumption</a:t>
            </a:r>
            <a:endParaRPr lang="en-US" altLang="zh-TW" sz="16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d on top of COMPOSITE view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Doesn't interact with DB/Basic Views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‧ Expose data: UIS, HTML, Excel, BO Lumira?...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Source: Composite View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Syntax: @VDM.Viewtype: #CONSUMPTION </a:t>
            </a: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E2736EAD-0C93-390E-46E5-1C1F98D34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0278" y="1073216"/>
            <a:ext cx="4727107" cy="5313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76971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3600" b="1" kern="0" dirty="0">
                <a:latin typeface="Arial" panose="020B0604020202020204" pitchFamily="34" charset="0"/>
                <a:cs typeface="Arial" panose="020B0604020202020204" pitchFamily="34" charset="0"/>
              </a:rPr>
              <a:t>CDS Association, Composition and Projection</a:t>
            </a: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2886642C-FD12-F549-0957-7B364B9343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7679" y="1453896"/>
            <a:ext cx="9616641" cy="465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1462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CDS View Data Category </a:t>
            </a: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0999" y="1453896"/>
            <a:ext cx="10904621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efine your data based on the business requirement.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ata Category Types 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imension 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Fact </a:t>
            </a:r>
          </a:p>
          <a:p>
            <a:pPr marL="761988" lvl="2" indent="-457200" defTabSz="9144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ube </a:t>
            </a:r>
            <a:endParaRPr lang="en-US" altLang="zh-TW" sz="16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6086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Data Models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In web development, a data model refers to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how data is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ctured, organized, and managed 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in a web application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It’s a blueprint that defines the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s of data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ir relationships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, and how they are </a:t>
            </a:r>
            <a:r>
              <a:rPr lang="en-US" altLang="zh-TW" sz="2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ed, retrieved, and manipulated</a:t>
            </a: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 within the system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TW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zh-TW" alt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781435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Data Category Types </a:t>
            </a: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1000" y="1453896"/>
            <a:ext cx="6617040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imension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s Master Data</a:t>
            </a: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Syntax: @Analytics.dataCategory: #DIMENSION.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Fact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s Transaction Data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Contains measures.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 not be joined with Master data views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Syntax: @Analytics.dataCategory: #FACT.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ube 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s Transaction Data</a:t>
            </a: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 (like #FACT)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be joined with Master data views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ption views are built on top of Cube </a:t>
            </a:r>
          </a:p>
          <a:p>
            <a:pPr marL="761988" lvl="2" indent="-457200" defTabSz="914400">
              <a:buFont typeface="Wingdings" panose="05000000000000000000" pitchFamily="2" charset="2"/>
              <a:buChar char="ü"/>
            </a:pPr>
            <a:r>
              <a:rPr lang="en-US" altLang="zh-TW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Syntax: @Analytics.dataCategory: #CUBE.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900974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Complete CDS view: (VDM + Data Category)</a:t>
            </a:r>
          </a:p>
        </p:txBody>
      </p:sp>
      <p:sp>
        <p:nvSpPr>
          <p:cNvPr id="20" name="文字版面配置區 14">
            <a:extLst>
              <a:ext uri="{FF2B5EF4-FFF2-40B4-BE49-F238E27FC236}">
                <a16:creationId xmlns:a16="http://schemas.microsoft.com/office/drawing/2014/main" id="{48474E99-5F4C-8837-B654-FBFB09877492}"/>
              </a:ext>
            </a:extLst>
          </p:cNvPr>
          <p:cNvSpPr txBox="1">
            <a:spLocks/>
          </p:cNvSpPr>
          <p:nvPr/>
        </p:nvSpPr>
        <p:spPr>
          <a:xfrm>
            <a:off x="380999" y="1453896"/>
            <a:ext cx="10904621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矩形: 圓角 1">
            <a:extLst>
              <a:ext uri="{FF2B5EF4-FFF2-40B4-BE49-F238E27FC236}">
                <a16:creationId xmlns:a16="http://schemas.microsoft.com/office/drawing/2014/main" id="{67AFE04B-AE7B-35B9-6CD8-31248B181D13}"/>
              </a:ext>
            </a:extLst>
          </p:cNvPr>
          <p:cNvSpPr/>
          <p:nvPr/>
        </p:nvSpPr>
        <p:spPr bwMode="auto">
          <a:xfrm>
            <a:off x="974559" y="2526792"/>
            <a:ext cx="4740441" cy="3693534"/>
          </a:xfrm>
          <a:prstGeom prst="roundRect">
            <a:avLst/>
          </a:prstGeom>
          <a:noFill/>
          <a:ln w="190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ster da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sion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TW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sion</a:t>
            </a: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 useBgFill="1">
        <p:nvSpPr>
          <p:cNvPr id="3" name="矩形: 按鈕形 2">
            <a:extLst>
              <a:ext uri="{FF2B5EF4-FFF2-40B4-BE49-F238E27FC236}">
                <a16:creationId xmlns:a16="http://schemas.microsoft.com/office/drawing/2014/main" id="{8692F0C6-5056-4F81-2A64-819A123624FA}"/>
              </a:ext>
            </a:extLst>
          </p:cNvPr>
          <p:cNvSpPr/>
          <p:nvPr/>
        </p:nvSpPr>
        <p:spPr bwMode="auto">
          <a:xfrm>
            <a:off x="1600200" y="3717751"/>
            <a:ext cx="3693695" cy="757989"/>
          </a:xfrm>
          <a:prstGeom prst="bevel">
            <a:avLst/>
          </a:prstGeom>
          <a:ln w="190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@VDM.viewType: #Basic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Analytics.dataCategory: #Dimension</a:t>
            </a: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 useBgFill="1">
        <p:nvSpPr>
          <p:cNvPr id="4" name="矩形: 按鈕形 3">
            <a:extLst>
              <a:ext uri="{FF2B5EF4-FFF2-40B4-BE49-F238E27FC236}">
                <a16:creationId xmlns:a16="http://schemas.microsoft.com/office/drawing/2014/main" id="{A0DFE89E-B580-F4EE-D8DB-437CE40089F0}"/>
              </a:ext>
            </a:extLst>
          </p:cNvPr>
          <p:cNvSpPr/>
          <p:nvPr/>
        </p:nvSpPr>
        <p:spPr bwMode="auto">
          <a:xfrm>
            <a:off x="1600199" y="5181525"/>
            <a:ext cx="3693695" cy="757989"/>
          </a:xfrm>
          <a:prstGeom prst="bevel">
            <a:avLst/>
          </a:prstGeom>
          <a:ln w="190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@VDM.viewType: #Basic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Analytics.dataCategory: #Dimension</a:t>
            </a: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圓角 4">
            <a:extLst>
              <a:ext uri="{FF2B5EF4-FFF2-40B4-BE49-F238E27FC236}">
                <a16:creationId xmlns:a16="http://schemas.microsoft.com/office/drawing/2014/main" id="{255707E2-8321-D224-E1D5-5997A4DC8446}"/>
              </a:ext>
            </a:extLst>
          </p:cNvPr>
          <p:cNvSpPr/>
          <p:nvPr/>
        </p:nvSpPr>
        <p:spPr bwMode="auto">
          <a:xfrm>
            <a:off x="6545179" y="1313847"/>
            <a:ext cx="4740441" cy="4906479"/>
          </a:xfrm>
          <a:prstGeom prst="roundRect">
            <a:avLst/>
          </a:prstGeom>
          <a:noFill/>
          <a:ln w="190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nsaction da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ption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altLang="zh-TW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site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lang="en-US" altLang="zh-TW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ic</a:t>
            </a: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 useBgFill="1">
        <p:nvSpPr>
          <p:cNvPr id="9" name="矩形: 按鈕形 8">
            <a:extLst>
              <a:ext uri="{FF2B5EF4-FFF2-40B4-BE49-F238E27FC236}">
                <a16:creationId xmlns:a16="http://schemas.microsoft.com/office/drawing/2014/main" id="{2AD4E1E2-2BED-9A23-F337-6D40C0DAD147}"/>
              </a:ext>
            </a:extLst>
          </p:cNvPr>
          <p:cNvSpPr/>
          <p:nvPr/>
        </p:nvSpPr>
        <p:spPr bwMode="auto">
          <a:xfrm>
            <a:off x="7068551" y="5073237"/>
            <a:ext cx="3693695" cy="757989"/>
          </a:xfrm>
          <a:prstGeom prst="bevel">
            <a:avLst/>
          </a:prstGeom>
          <a:ln w="190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@VDM.viewType: #Basic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Analytics.dataCategory: #FACT</a:t>
            </a: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 useBgFill="1">
        <p:nvSpPr>
          <p:cNvPr id="10" name="矩形: 按鈕形 9">
            <a:extLst>
              <a:ext uri="{FF2B5EF4-FFF2-40B4-BE49-F238E27FC236}">
                <a16:creationId xmlns:a16="http://schemas.microsoft.com/office/drawing/2014/main" id="{9CBE4402-281E-7973-E9D2-2924155503D8}"/>
              </a:ext>
            </a:extLst>
          </p:cNvPr>
          <p:cNvSpPr/>
          <p:nvPr/>
        </p:nvSpPr>
        <p:spPr bwMode="auto">
          <a:xfrm>
            <a:off x="7068550" y="3805828"/>
            <a:ext cx="3693695" cy="757989"/>
          </a:xfrm>
          <a:prstGeom prst="bevel">
            <a:avLst/>
          </a:prstGeom>
          <a:ln w="190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@VDM.viewType: #COMPOSIT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Analytics.dataCategory: #CUBE</a:t>
            </a: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 useBgFill="1">
        <p:nvSpPr>
          <p:cNvPr id="11" name="矩形: 按鈕形 10">
            <a:extLst>
              <a:ext uri="{FF2B5EF4-FFF2-40B4-BE49-F238E27FC236}">
                <a16:creationId xmlns:a16="http://schemas.microsoft.com/office/drawing/2014/main" id="{19434F98-3102-4F03-11CF-ED35090C83F8}"/>
              </a:ext>
            </a:extLst>
          </p:cNvPr>
          <p:cNvSpPr/>
          <p:nvPr/>
        </p:nvSpPr>
        <p:spPr bwMode="auto">
          <a:xfrm>
            <a:off x="7068549" y="2535455"/>
            <a:ext cx="3693695" cy="757989"/>
          </a:xfrm>
          <a:prstGeom prst="bevel">
            <a:avLst/>
          </a:prstGeom>
          <a:ln w="19050">
            <a:solidFill>
              <a:srgbClr val="00B05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@VDM.viewType: #CONSUMPTIO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Odata.publish: #TRUE</a:t>
            </a:r>
            <a:r>
              <a:rPr kumimoji="0" lang="en-US" altLang="zh-TW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zh-TW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23FFE15B-2975-D0FF-91C8-EF41EE22AD19}"/>
              </a:ext>
            </a:extLst>
          </p:cNvPr>
          <p:cNvCxnSpPr>
            <a:cxnSpLocks/>
            <a:stCxn id="4" idx="0"/>
            <a:endCxn id="10" idx="4"/>
          </p:cNvCxnSpPr>
          <p:nvPr/>
        </p:nvCxnSpPr>
        <p:spPr bwMode="auto">
          <a:xfrm flipV="1">
            <a:off x="5293894" y="4184823"/>
            <a:ext cx="1774656" cy="1375697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lg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線單箭頭接點 16">
            <a:extLst>
              <a:ext uri="{FF2B5EF4-FFF2-40B4-BE49-F238E27FC236}">
                <a16:creationId xmlns:a16="http://schemas.microsoft.com/office/drawing/2014/main" id="{EB1601E5-6240-71EB-90FC-2C9CFF14C2F3}"/>
              </a:ext>
            </a:extLst>
          </p:cNvPr>
          <p:cNvCxnSpPr>
            <a:cxnSpLocks/>
            <a:stCxn id="3" idx="0"/>
            <a:endCxn id="10" idx="4"/>
          </p:cNvCxnSpPr>
          <p:nvPr/>
        </p:nvCxnSpPr>
        <p:spPr bwMode="auto">
          <a:xfrm>
            <a:off x="5293895" y="4096746"/>
            <a:ext cx="1774655" cy="88077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lg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語音泡泡: 矩形 7">
            <a:extLst>
              <a:ext uri="{FF2B5EF4-FFF2-40B4-BE49-F238E27FC236}">
                <a16:creationId xmlns:a16="http://schemas.microsoft.com/office/drawing/2014/main" id="{AF2235B3-A9D1-0D72-690A-F742603DED41}"/>
              </a:ext>
            </a:extLst>
          </p:cNvPr>
          <p:cNvSpPr/>
          <p:nvPr/>
        </p:nvSpPr>
        <p:spPr bwMode="auto">
          <a:xfrm>
            <a:off x="2092229" y="1313847"/>
            <a:ext cx="4003771" cy="1434241"/>
          </a:xfrm>
          <a:prstGeom prst="wedgeRectCallout">
            <a:avLst>
              <a:gd name="adj1" fmla="val 74230"/>
              <a:gd name="adj2" fmla="val 142994"/>
            </a:avLst>
          </a:prstGeom>
          <a:solidFill>
            <a:srgbClr val="1192E8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Composite View: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Created on top of BASIC view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ultiple Basic views can be used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Source: Basic View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syntax: @VDM.Viewtype: #COMPOSITE</a:t>
            </a:r>
            <a:endParaRPr kumimoji="0" lang="zh-TW" altLang="en-US" sz="16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8316094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Data Category : Dimension</a:t>
            </a:r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B242E4CD-627A-ACE4-4661-2D1941E5F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778749"/>
            <a:ext cx="10248690" cy="444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2548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Data Category : Fact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BCE51A9D-3965-5ED7-EC7F-0723E3921A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042" y="1453896"/>
            <a:ext cx="8823158" cy="5023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16070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Data Category : Cube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2CE8389A-1713-6CAA-A7C1-1817CB390CA1}"/>
              </a:ext>
            </a:extLst>
          </p:cNvPr>
          <p:cNvSpPr txBox="1"/>
          <p:nvPr/>
        </p:nvSpPr>
        <p:spPr>
          <a:xfrm>
            <a:off x="623637" y="1798122"/>
            <a:ext cx="10737462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sz="1600" dirty="0"/>
              <a:t>@AbapCatalog.sqlViewName: 'ZJI_COMP_PO1'</a:t>
            </a:r>
          </a:p>
          <a:p>
            <a:r>
              <a:rPr lang="zh-TW" altLang="en-US" sz="1600" dirty="0"/>
              <a:t>@AbapCatalog.compiler.compareFilter: true</a:t>
            </a:r>
          </a:p>
          <a:p>
            <a:r>
              <a:rPr lang="zh-TW" altLang="en-US" sz="1600" dirty="0"/>
              <a:t>@AbapCatalog.preserveKey: true</a:t>
            </a:r>
          </a:p>
          <a:p>
            <a:r>
              <a:rPr lang="zh-TW" altLang="en-US" sz="1600" dirty="0"/>
              <a:t>@AccessControl.authorizationCheck: #CHECK</a:t>
            </a:r>
          </a:p>
          <a:p>
            <a:r>
              <a:rPr lang="zh-TW" altLang="en-US" sz="1600" dirty="0"/>
              <a:t>@EndUserText.label: 'VDM composite PO and master data'</a:t>
            </a:r>
          </a:p>
          <a:p>
            <a:r>
              <a:rPr lang="zh-TW" altLang="en-US" sz="1600" b="1" dirty="0">
                <a:solidFill>
                  <a:srgbClr val="0033CC"/>
                </a:solidFill>
              </a:rPr>
              <a:t>@VDM.viewType: #COMPOSITE</a:t>
            </a:r>
          </a:p>
          <a:p>
            <a:r>
              <a:rPr lang="zh-TW" altLang="en-US" sz="1600" b="1" dirty="0">
                <a:solidFill>
                  <a:srgbClr val="0033CC"/>
                </a:solidFill>
              </a:rPr>
              <a:t>@Analytics.dataCategory: #CUBE</a:t>
            </a:r>
          </a:p>
          <a:p>
            <a:r>
              <a:rPr lang="zh-TW" altLang="en-US" sz="1600" dirty="0"/>
              <a:t>define view zji_12_comp_po_det as select from zji_12_po_basic as _po</a:t>
            </a:r>
          </a:p>
          <a:p>
            <a:r>
              <a:rPr lang="zh-TW" altLang="en-US" sz="1600" dirty="0"/>
              <a:t>association [0..1] to zji_12_material_basic as _mat on _po.matnr = _mat.matnr</a:t>
            </a:r>
          </a:p>
          <a:p>
            <a:r>
              <a:rPr lang="zh-TW" altLang="en-US" sz="1600" dirty="0"/>
              <a:t>association [0..1] to zji_12_customer_basic as _cust on _po.kunnr = _cust.kunnr</a:t>
            </a:r>
          </a:p>
          <a:p>
            <a:r>
              <a:rPr lang="zh-TW" altLang="en-US" sz="1600" dirty="0"/>
              <a:t>association [0..1] to I_MaterialText as _matxt on _mat.matnr = _matxt.Material</a:t>
            </a:r>
          </a:p>
          <a:p>
            <a:r>
              <a:rPr lang="zh-TW" altLang="en-US" sz="1600" dirty="0"/>
              <a:t>{</a:t>
            </a:r>
          </a:p>
          <a:p>
            <a:r>
              <a:rPr lang="zh-TW" altLang="en-US" sz="1600" dirty="0"/>
              <a:t>key _po.ebeln,</a:t>
            </a:r>
          </a:p>
          <a:p>
            <a:r>
              <a:rPr lang="zh-TW" altLang="en-US" sz="1600" dirty="0"/>
              <a:t>key _po.ebelp,</a:t>
            </a:r>
          </a:p>
          <a:p>
            <a:r>
              <a:rPr lang="zh-TW" altLang="en-US" sz="1600" dirty="0"/>
              <a:t>_po.netpr,</a:t>
            </a:r>
          </a:p>
          <a:p>
            <a:r>
              <a:rPr lang="zh-TW" altLang="en-US" sz="1600" dirty="0"/>
              <a:t>_po.kunnr,</a:t>
            </a:r>
          </a:p>
          <a:p>
            <a:r>
              <a:rPr lang="zh-TW" altLang="en-US" sz="1600" dirty="0"/>
              <a:t>_po.matnr</a:t>
            </a:r>
          </a:p>
          <a:p>
            <a:r>
              <a:rPr lang="zh-TW" altLang="en-US" sz="160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89165351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VDM Type: Consumption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2CE8389A-1713-6CAA-A7C1-1817CB390CA1}"/>
              </a:ext>
            </a:extLst>
          </p:cNvPr>
          <p:cNvSpPr txBox="1"/>
          <p:nvPr/>
        </p:nvSpPr>
        <p:spPr>
          <a:xfrm>
            <a:off x="623637" y="1798122"/>
            <a:ext cx="10737462" cy="49552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zh-TW" sz="2000" dirty="0"/>
              <a:t>@AbapCatalog.sqlViewName: 'ZJI_CONS_V1'</a:t>
            </a:r>
          </a:p>
          <a:p>
            <a:r>
              <a:rPr lang="de-DE" altLang="zh-TW" sz="2000" dirty="0"/>
              <a:t>@AbapCatalog.compiler.compareFilter: true</a:t>
            </a:r>
          </a:p>
          <a:p>
            <a:r>
              <a:rPr lang="de-DE" altLang="zh-TW" sz="2000" dirty="0"/>
              <a:t>@AbapCatalog.preserveKey: true</a:t>
            </a:r>
          </a:p>
          <a:p>
            <a:r>
              <a:rPr lang="de-DE" altLang="zh-TW" sz="2000" dirty="0"/>
              <a:t>@AccessControl.authorizationCheck: #CHECK</a:t>
            </a:r>
          </a:p>
          <a:p>
            <a:r>
              <a:rPr lang="de-DE" altLang="zh-TW" sz="2000" dirty="0"/>
              <a:t>@EndUserText.label: 'VDM consumption view'</a:t>
            </a:r>
          </a:p>
          <a:p>
            <a:r>
              <a:rPr lang="de-DE" altLang="zh-TW" sz="2000" b="1" dirty="0">
                <a:solidFill>
                  <a:srgbClr val="0033CC"/>
                </a:solidFill>
              </a:rPr>
              <a:t>@VDM.viewType: #CONSUMPTION</a:t>
            </a:r>
          </a:p>
          <a:p>
            <a:r>
              <a:rPr lang="de-DE" altLang="zh-TW" sz="2000" b="1" dirty="0">
                <a:solidFill>
                  <a:srgbClr val="0033CC"/>
                </a:solidFill>
              </a:rPr>
              <a:t>@OData.publish: true</a:t>
            </a:r>
          </a:p>
          <a:p>
            <a:r>
              <a:rPr lang="de-DE" altLang="zh-TW" sz="2000" dirty="0"/>
              <a:t>define view zji_12_consum as select from zji_12_comp_po_det</a:t>
            </a:r>
          </a:p>
          <a:p>
            <a:r>
              <a:rPr lang="de-DE" altLang="zh-TW" sz="2000" dirty="0"/>
              <a:t>{</a:t>
            </a:r>
          </a:p>
          <a:p>
            <a:r>
              <a:rPr lang="de-DE" altLang="zh-TW" sz="2000" dirty="0"/>
              <a:t>key ebeln,</a:t>
            </a:r>
          </a:p>
          <a:p>
            <a:r>
              <a:rPr lang="de-DE" altLang="zh-TW" sz="2000" dirty="0"/>
              <a:t>key ebelp,</a:t>
            </a:r>
          </a:p>
          <a:p>
            <a:r>
              <a:rPr lang="de-DE" altLang="zh-TW" sz="2000" dirty="0"/>
              <a:t>netpr,</a:t>
            </a:r>
          </a:p>
          <a:p>
            <a:r>
              <a:rPr lang="de-DE" altLang="zh-TW" sz="2000" dirty="0"/>
              <a:t>kunnr,</a:t>
            </a:r>
          </a:p>
          <a:p>
            <a:r>
              <a:rPr lang="de-DE" altLang="zh-TW" sz="2000" dirty="0"/>
              <a:t>matnr</a:t>
            </a:r>
          </a:p>
          <a:p>
            <a:r>
              <a:rPr lang="de-DE" altLang="zh-TW" sz="2000" dirty="0"/>
              <a:t>}</a:t>
            </a:r>
          </a:p>
          <a:p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608921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33586" y="802818"/>
            <a:ext cx="3518956" cy="867423"/>
          </a:xfrm>
          <a:prstGeom prst="rect">
            <a:avLst/>
          </a:prstGeom>
        </p:spPr>
        <p:txBody>
          <a:bodyPr lIns="121920" tIns="60960" rIns="121920" bIns="60960" anchor="ctr"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7200" b="1" dirty="0">
                <a:latin typeface="IBM Plex Sans" panose="020B0503050203000203" pitchFamily="34" charset="0"/>
                <a:ea typeface="微軟正黑體" panose="020B0604030504040204" pitchFamily="34" charset="-120"/>
                <a:cs typeface="Arial" pitchFamily="34" charset="0"/>
              </a:rPr>
              <a:t>Agenda</a:t>
            </a:r>
            <a:r>
              <a:rPr lang="en-US" sz="7200" dirty="0">
                <a:cs typeface="Arial" pitchFamily="34" charset="0"/>
              </a:rPr>
              <a:t> </a:t>
            </a:r>
          </a:p>
        </p:txBody>
      </p:sp>
      <p:grpSp>
        <p:nvGrpSpPr>
          <p:cNvPr id="2" name="群組 1"/>
          <p:cNvGrpSpPr/>
          <p:nvPr/>
        </p:nvGrpSpPr>
        <p:grpSpPr>
          <a:xfrm>
            <a:off x="3796648" y="947145"/>
            <a:ext cx="7430921" cy="739243"/>
            <a:chOff x="4550094" y="502920"/>
            <a:chExt cx="8917105" cy="887092"/>
          </a:xfrm>
        </p:grpSpPr>
        <p:sp>
          <p:nvSpPr>
            <p:cNvPr id="7" name="Rectangle 6"/>
            <p:cNvSpPr/>
            <p:nvPr/>
          </p:nvSpPr>
          <p:spPr>
            <a:xfrm>
              <a:off x="4595813" y="610962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8" name="Right Triangle 7"/>
            <p:cNvSpPr/>
            <p:nvPr/>
          </p:nvSpPr>
          <p:spPr>
            <a:xfrm rot="5400000">
              <a:off x="4624137" y="612986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550094" y="502920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1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3" name="TextBox 21"/>
            <p:cNvSpPr txBox="1"/>
            <p:nvPr/>
          </p:nvSpPr>
          <p:spPr>
            <a:xfrm>
              <a:off x="5680669" y="763683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de-DE" altLang="zh-CN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DS Views Introduction</a:t>
              </a:r>
              <a:endParaRPr lang="en-US" altLang="zh-CN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6" name="群組 5"/>
          <p:cNvGrpSpPr/>
          <p:nvPr/>
        </p:nvGrpSpPr>
        <p:grpSpPr>
          <a:xfrm>
            <a:off x="3796648" y="1765103"/>
            <a:ext cx="7430920" cy="739243"/>
            <a:chOff x="4560699" y="1563083"/>
            <a:chExt cx="8917104" cy="887092"/>
          </a:xfrm>
        </p:grpSpPr>
        <p:sp>
          <p:nvSpPr>
            <p:cNvPr id="33" name="Rectangle 6"/>
            <p:cNvSpPr/>
            <p:nvPr/>
          </p:nvSpPr>
          <p:spPr>
            <a:xfrm>
              <a:off x="4606417" y="1671125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4" name="Right Triangle 7"/>
            <p:cNvSpPr/>
            <p:nvPr/>
          </p:nvSpPr>
          <p:spPr>
            <a:xfrm rot="5400000">
              <a:off x="4634742" y="167315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35" name="TextBox 15"/>
            <p:cNvSpPr txBox="1"/>
            <p:nvPr/>
          </p:nvSpPr>
          <p:spPr>
            <a:xfrm>
              <a:off x="4560699" y="1563083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2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4" name="TextBox 21"/>
            <p:cNvSpPr txBox="1"/>
            <p:nvPr/>
          </p:nvSpPr>
          <p:spPr>
            <a:xfrm>
              <a:off x="5706515" y="1827058"/>
              <a:ext cx="7510384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reate CDS View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9" name="群組 8"/>
          <p:cNvGrpSpPr/>
          <p:nvPr/>
        </p:nvGrpSpPr>
        <p:grpSpPr>
          <a:xfrm>
            <a:off x="3796647" y="2728579"/>
            <a:ext cx="7430921" cy="739244"/>
            <a:chOff x="4555977" y="2634558"/>
            <a:chExt cx="8917105" cy="887093"/>
          </a:xfrm>
        </p:grpSpPr>
        <p:sp>
          <p:nvSpPr>
            <p:cNvPr id="39" name="Rectangle 6"/>
            <p:cNvSpPr/>
            <p:nvPr/>
          </p:nvSpPr>
          <p:spPr>
            <a:xfrm>
              <a:off x="4601696" y="274260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0" name="Right Triangle 7"/>
            <p:cNvSpPr/>
            <p:nvPr/>
          </p:nvSpPr>
          <p:spPr>
            <a:xfrm rot="5400000">
              <a:off x="4630020" y="274462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1" name="TextBox 15"/>
            <p:cNvSpPr txBox="1"/>
            <p:nvPr/>
          </p:nvSpPr>
          <p:spPr>
            <a:xfrm>
              <a:off x="4555977" y="2634558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3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5" name="TextBox 21"/>
            <p:cNvSpPr txBox="1"/>
            <p:nvPr/>
          </p:nvSpPr>
          <p:spPr>
            <a:xfrm>
              <a:off x="5701795" y="2845316"/>
              <a:ext cx="7510383" cy="535455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eaLnBrk="0" hangingPunct="0">
                <a:lnSpc>
                  <a:spcPct val="90000"/>
                </a:lnSpc>
                <a:spcBef>
                  <a:spcPct val="15000"/>
                </a:spcBef>
                <a:spcAft>
                  <a:spcPct val="15000"/>
                </a:spcAft>
                <a:buClr>
                  <a:schemeClr val="folHlink"/>
                </a:buClr>
                <a:buSzPct val="80000"/>
              </a:pPr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cs typeface="Microsoft GothicNeo" panose="020B0500000101010101" pitchFamily="34" charset="-127"/>
                </a:rPr>
                <a:t>Cardinality</a:t>
              </a:r>
              <a:endParaRPr lang="ko-KR" altLang="en-US" sz="2333" b="1" dirty="0">
                <a:solidFill>
                  <a:schemeClr val="bg1">
                    <a:lumMod val="75000"/>
                  </a:schemeClr>
                </a:solidFill>
                <a:latin typeface="Microsoft JhengHei" panose="020B0604030504040204" pitchFamily="34" charset="-120"/>
                <a:cs typeface="Microsoft GothicNeo" panose="020B0500000101010101" pitchFamily="34" charset="-127"/>
              </a:endParaRPr>
            </a:p>
          </p:txBody>
        </p:sp>
      </p:grpSp>
      <p:grpSp>
        <p:nvGrpSpPr>
          <p:cNvPr id="10" name="群組 9"/>
          <p:cNvGrpSpPr/>
          <p:nvPr/>
        </p:nvGrpSpPr>
        <p:grpSpPr>
          <a:xfrm>
            <a:off x="3796648" y="3585257"/>
            <a:ext cx="7430921" cy="739243"/>
            <a:chOff x="4557382" y="3682075"/>
            <a:chExt cx="8917105" cy="887092"/>
          </a:xfrm>
        </p:grpSpPr>
        <p:sp>
          <p:nvSpPr>
            <p:cNvPr id="45" name="Rectangle 6"/>
            <p:cNvSpPr/>
            <p:nvPr/>
          </p:nvSpPr>
          <p:spPr>
            <a:xfrm>
              <a:off x="4603101" y="3790117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6" name="Right Triangle 7"/>
            <p:cNvSpPr/>
            <p:nvPr/>
          </p:nvSpPr>
          <p:spPr>
            <a:xfrm rot="5400000">
              <a:off x="4631425" y="3792142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7" name="TextBox 15"/>
            <p:cNvSpPr txBox="1"/>
            <p:nvPr/>
          </p:nvSpPr>
          <p:spPr>
            <a:xfrm>
              <a:off x="4557382" y="3682075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4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6" name="TextBox 21"/>
            <p:cNvSpPr txBox="1"/>
            <p:nvPr/>
          </p:nvSpPr>
          <p:spPr>
            <a:xfrm>
              <a:off x="5703198" y="3892831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Table function</a:t>
              </a:r>
            </a:p>
          </p:txBody>
        </p:sp>
      </p:grpSp>
      <p:grpSp>
        <p:nvGrpSpPr>
          <p:cNvPr id="11" name="群組 10"/>
          <p:cNvGrpSpPr/>
          <p:nvPr/>
        </p:nvGrpSpPr>
        <p:grpSpPr>
          <a:xfrm>
            <a:off x="3796648" y="4355109"/>
            <a:ext cx="7430921" cy="739243"/>
            <a:chOff x="4550094" y="4723989"/>
            <a:chExt cx="8917105" cy="887092"/>
          </a:xfrm>
        </p:grpSpPr>
        <p:sp>
          <p:nvSpPr>
            <p:cNvPr id="51" name="Rectangle 6"/>
            <p:cNvSpPr/>
            <p:nvPr/>
          </p:nvSpPr>
          <p:spPr>
            <a:xfrm>
              <a:off x="4595813" y="4832031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2" name="Right Triangle 7"/>
            <p:cNvSpPr/>
            <p:nvPr/>
          </p:nvSpPr>
          <p:spPr>
            <a:xfrm rot="5400000">
              <a:off x="4624137" y="4834055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3" name="TextBox 15"/>
            <p:cNvSpPr txBox="1"/>
            <p:nvPr/>
          </p:nvSpPr>
          <p:spPr>
            <a:xfrm>
              <a:off x="4550094" y="4723989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5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7" name="TextBox 21"/>
            <p:cNvSpPr txBox="1"/>
            <p:nvPr/>
          </p:nvSpPr>
          <p:spPr>
            <a:xfrm>
              <a:off x="5695910" y="4934747"/>
              <a:ext cx="7510383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solidFill>
                    <a:schemeClr val="bg1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VDM type and data category</a:t>
              </a:r>
            </a:p>
          </p:txBody>
        </p:sp>
      </p:grpSp>
      <p:grpSp>
        <p:nvGrpSpPr>
          <p:cNvPr id="12" name="群組 11"/>
          <p:cNvGrpSpPr/>
          <p:nvPr/>
        </p:nvGrpSpPr>
        <p:grpSpPr>
          <a:xfrm>
            <a:off x="3796648" y="5287127"/>
            <a:ext cx="7430920" cy="739243"/>
            <a:chOff x="4536179" y="5760904"/>
            <a:chExt cx="8917104" cy="887092"/>
          </a:xfrm>
        </p:grpSpPr>
        <p:sp>
          <p:nvSpPr>
            <p:cNvPr id="57" name="Rectangle 6"/>
            <p:cNvSpPr/>
            <p:nvPr/>
          </p:nvSpPr>
          <p:spPr>
            <a:xfrm>
              <a:off x="4581897" y="5868946"/>
              <a:ext cx="8871386" cy="77905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8" name="Right Triangle 7"/>
            <p:cNvSpPr/>
            <p:nvPr/>
          </p:nvSpPr>
          <p:spPr>
            <a:xfrm rot="5400000">
              <a:off x="4610222" y="5870970"/>
              <a:ext cx="713262" cy="751629"/>
            </a:xfrm>
            <a:prstGeom prst="rtTriangl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60960" rIns="121920" bIns="60960"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9" name="TextBox 15"/>
            <p:cNvSpPr txBox="1"/>
            <p:nvPr/>
          </p:nvSpPr>
          <p:spPr>
            <a:xfrm>
              <a:off x="4536179" y="5760904"/>
              <a:ext cx="513563" cy="732586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pPr algn="ctr"/>
              <a:r>
                <a:rPr lang="en-US" altLang="ko-KR" sz="3167" b="1" dirty="0">
                  <a:solidFill>
                    <a:schemeClr val="bg1"/>
                  </a:solidFill>
                  <a:cs typeface="Arial" pitchFamily="34" charset="0"/>
                </a:rPr>
                <a:t>6</a:t>
              </a:r>
              <a:endParaRPr lang="ko-KR" altLang="en-US" sz="3167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8" name="TextBox 21"/>
            <p:cNvSpPr txBox="1"/>
            <p:nvPr/>
          </p:nvSpPr>
          <p:spPr>
            <a:xfrm>
              <a:off x="5681995" y="5971660"/>
              <a:ext cx="7510384" cy="578544"/>
            </a:xfrm>
            <a:prstGeom prst="rect">
              <a:avLst/>
            </a:prstGeom>
            <a:noFill/>
          </p:spPr>
          <p:txBody>
            <a:bodyPr wrap="square" lIns="121920" tIns="60960" rIns="121920" bIns="60960" rtlCol="0">
              <a:spAutoFit/>
            </a:bodyPr>
            <a:lstStyle/>
            <a:p>
              <a:r>
                <a:rPr lang="en-US" altLang="ko-KR" sz="2333" b="1" dirty="0">
                  <a:latin typeface="微軟正黑體" panose="020B0604030504040204" pitchFamily="34" charset="-120"/>
                  <a:ea typeface="微軟正黑體" panose="020B0604030504040204" pitchFamily="34" charset="-120"/>
                  <a:cs typeface="Arial" pitchFamily="34" charset="0"/>
                </a:rPr>
                <a:t>Anno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263135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0999" y="1453896"/>
            <a:ext cx="11222735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 note of explanation/extra information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Something need to added or some additional information  to be delivered base on your requirement or 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additional </a:t>
            </a:r>
            <a:r>
              <a:rPr lang="en-US" altLang="zh-TW" sz="2400" b="1" kern="0" dirty="0" err="1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s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your end users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圓柱形 15">
            <a:extLst>
              <a:ext uri="{FF2B5EF4-FFF2-40B4-BE49-F238E27FC236}">
                <a16:creationId xmlns:a16="http://schemas.microsoft.com/office/drawing/2014/main" id="{F33F7E0F-3645-4A94-AC18-548CCA893252}"/>
              </a:ext>
            </a:extLst>
          </p:cNvPr>
          <p:cNvSpPr/>
          <p:nvPr/>
        </p:nvSpPr>
        <p:spPr bwMode="auto">
          <a:xfrm>
            <a:off x="557079" y="4311872"/>
            <a:ext cx="1443790" cy="1298477"/>
          </a:xfrm>
          <a:prstGeom prst="can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B</a:t>
            </a:r>
            <a:endParaRPr kumimoji="0" lang="zh-TW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箭號: 向右 16">
            <a:extLst>
              <a:ext uri="{FF2B5EF4-FFF2-40B4-BE49-F238E27FC236}">
                <a16:creationId xmlns:a16="http://schemas.microsoft.com/office/drawing/2014/main" id="{4A0389B6-0E13-2D20-97EB-17439261ABD8}"/>
              </a:ext>
            </a:extLst>
          </p:cNvPr>
          <p:cNvSpPr/>
          <p:nvPr/>
        </p:nvSpPr>
        <p:spPr bwMode="auto">
          <a:xfrm>
            <a:off x="2128717" y="4525776"/>
            <a:ext cx="801665" cy="628219"/>
          </a:xfrm>
          <a:prstGeom prst="rightArrow">
            <a:avLst/>
          </a:prstGeom>
          <a:solidFill>
            <a:srgbClr val="1192E8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9" name="矩形: 圓角 18">
            <a:extLst>
              <a:ext uri="{FF2B5EF4-FFF2-40B4-BE49-F238E27FC236}">
                <a16:creationId xmlns:a16="http://schemas.microsoft.com/office/drawing/2014/main" id="{D0747C35-0768-549D-7117-DF701B54D8DF}"/>
              </a:ext>
            </a:extLst>
          </p:cNvPr>
          <p:cNvSpPr/>
          <p:nvPr/>
        </p:nvSpPr>
        <p:spPr bwMode="auto">
          <a:xfrm>
            <a:off x="3214940" y="3590006"/>
            <a:ext cx="1443790" cy="73198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14400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600" b="1" dirty="0">
                <a:solidFill>
                  <a:schemeClr val="tx1"/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CDS 1</a:t>
            </a:r>
            <a:endParaRPr kumimoji="0" lang="zh-TW" altLang="en-US" sz="1600" b="1" i="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20" name="矩形: 圓角 19">
            <a:extLst>
              <a:ext uri="{FF2B5EF4-FFF2-40B4-BE49-F238E27FC236}">
                <a16:creationId xmlns:a16="http://schemas.microsoft.com/office/drawing/2014/main" id="{B7E77724-CBA7-6FD0-0932-71C6C0D91099}"/>
              </a:ext>
            </a:extLst>
          </p:cNvPr>
          <p:cNvSpPr/>
          <p:nvPr/>
        </p:nvSpPr>
        <p:spPr bwMode="auto">
          <a:xfrm>
            <a:off x="3214940" y="4533463"/>
            <a:ext cx="1443790" cy="73198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14400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600" b="1" dirty="0">
                <a:solidFill>
                  <a:schemeClr val="tx1"/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CDS 2</a:t>
            </a:r>
            <a:endParaRPr kumimoji="0" lang="zh-TW" altLang="en-US" sz="1600" b="1" i="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21" name="矩形: 圓角 20">
            <a:extLst>
              <a:ext uri="{FF2B5EF4-FFF2-40B4-BE49-F238E27FC236}">
                <a16:creationId xmlns:a16="http://schemas.microsoft.com/office/drawing/2014/main" id="{172A8C59-A5C2-F922-9237-2E8A98AEC432}"/>
              </a:ext>
            </a:extLst>
          </p:cNvPr>
          <p:cNvSpPr/>
          <p:nvPr/>
        </p:nvSpPr>
        <p:spPr bwMode="auto">
          <a:xfrm>
            <a:off x="3214940" y="5507408"/>
            <a:ext cx="1443790" cy="73198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14400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lang="en-US" altLang="zh-TW" sz="1600" b="1" dirty="0">
                <a:solidFill>
                  <a:schemeClr val="tx1"/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CDS 3</a:t>
            </a:r>
            <a:endParaRPr kumimoji="0" lang="zh-TW" altLang="en-US" sz="1600" b="1" i="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22" name="六邊形 21">
            <a:extLst>
              <a:ext uri="{FF2B5EF4-FFF2-40B4-BE49-F238E27FC236}">
                <a16:creationId xmlns:a16="http://schemas.microsoft.com/office/drawing/2014/main" id="{052AFF5C-C073-2D8A-9C2B-3D7F01A6EB33}"/>
              </a:ext>
            </a:extLst>
          </p:cNvPr>
          <p:cNvSpPr/>
          <p:nvPr/>
        </p:nvSpPr>
        <p:spPr bwMode="auto">
          <a:xfrm>
            <a:off x="5894657" y="3892366"/>
            <a:ext cx="1991901" cy="1847832"/>
          </a:xfrm>
          <a:prstGeom prst="hexagon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ta / Model /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tadata</a:t>
            </a:r>
            <a:endParaRPr kumimoji="0" lang="zh-TW" alt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箭號: 向右 25">
            <a:extLst>
              <a:ext uri="{FF2B5EF4-FFF2-40B4-BE49-F238E27FC236}">
                <a16:creationId xmlns:a16="http://schemas.microsoft.com/office/drawing/2014/main" id="{5A0C18FF-A9FA-1EB0-3F93-B1EA4F3ACD96}"/>
              </a:ext>
            </a:extLst>
          </p:cNvPr>
          <p:cNvSpPr/>
          <p:nvPr/>
        </p:nvSpPr>
        <p:spPr bwMode="auto">
          <a:xfrm>
            <a:off x="4877551" y="4471159"/>
            <a:ext cx="801665" cy="628219"/>
          </a:xfrm>
          <a:prstGeom prst="rightArrow">
            <a:avLst/>
          </a:prstGeom>
          <a:solidFill>
            <a:srgbClr val="1192E8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7" name="書卷: 垂直 26">
            <a:extLst>
              <a:ext uri="{FF2B5EF4-FFF2-40B4-BE49-F238E27FC236}">
                <a16:creationId xmlns:a16="http://schemas.microsoft.com/office/drawing/2014/main" id="{E1BB57A2-AB56-6D55-E8B6-D10BE7FAA3BA}"/>
              </a:ext>
            </a:extLst>
          </p:cNvPr>
          <p:cNvSpPr/>
          <p:nvPr/>
        </p:nvSpPr>
        <p:spPr bwMode="auto">
          <a:xfrm>
            <a:off x="9047816" y="3297418"/>
            <a:ext cx="2548896" cy="2906617"/>
          </a:xfrm>
          <a:prstGeom prst="verticalScroll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llow the data to </a:t>
            </a:r>
            <a:r>
              <a:rPr kumimoji="0" lang="en-US" altLang="zh-TW" sz="20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other component</a:t>
            </a:r>
            <a:r>
              <a:rPr kumimoji="0" lang="en-US" altLang="zh-TW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kumimoji="0" lang="en-US" altLang="zh-TW" sz="2000" b="0" i="0" u="none" strike="noStrike" cap="none" normalizeH="0" baseline="0" dirty="0" err="1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data</a:t>
            </a:r>
            <a:r>
              <a:rPr kumimoji="0" lang="en-US" altLang="zh-TW" sz="20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ervice</a:t>
            </a:r>
            <a:r>
              <a:rPr kumimoji="0" lang="en-US" altLang="zh-TW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n-US" altLang="zh-TW" sz="20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alytics</a:t>
            </a:r>
            <a:r>
              <a:rPr kumimoji="0" lang="en-US" altLang="zh-TW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so on</a:t>
            </a:r>
            <a:endParaRPr kumimoji="0" lang="zh-TW" alt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箭號: 向右 27">
            <a:extLst>
              <a:ext uri="{FF2B5EF4-FFF2-40B4-BE49-F238E27FC236}">
                <a16:creationId xmlns:a16="http://schemas.microsoft.com/office/drawing/2014/main" id="{3E1CDB67-3399-0F3B-60D3-B17070536231}"/>
              </a:ext>
            </a:extLst>
          </p:cNvPr>
          <p:cNvSpPr/>
          <p:nvPr/>
        </p:nvSpPr>
        <p:spPr bwMode="auto">
          <a:xfrm>
            <a:off x="8103514" y="4436618"/>
            <a:ext cx="801665" cy="628219"/>
          </a:xfrm>
          <a:prstGeom prst="rightArrow">
            <a:avLst/>
          </a:prstGeom>
          <a:solidFill>
            <a:srgbClr val="1192E8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zh-TW" alt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5251526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 -- Classifications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0999" y="1453896"/>
            <a:ext cx="11222735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BAP Annotations</a:t>
            </a:r>
          </a:p>
          <a:p>
            <a:pPr marL="761988" lvl="2" indent="-4572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ed in ABAP runtime environment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omponent Annotations</a:t>
            </a:r>
          </a:p>
          <a:p>
            <a:pPr marL="761988" lvl="2" indent="-4572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Evaluated by the frameworks of 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software components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 array [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  <a:p>
            <a:pPr marL="761988" lvl="2" indent="-4572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More than one field/value is applicable.</a:t>
            </a:r>
          </a:p>
          <a:p>
            <a:pPr lvl="2" indent="0" defTabSz="914400">
              <a:lnSpc>
                <a:spcPct val="200000"/>
              </a:lnSpc>
              <a:buNone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    [ { field1: value, field2: value …} ]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93602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–Position of </a:t>
            </a:r>
            <a:r>
              <a:rPr lang="en-US" altLang="zh-TW" sz="4000" b="1" kern="0">
                <a:latin typeface="Arial" panose="020B0604020202020204" pitchFamily="34" charset="0"/>
                <a:cs typeface="Arial" panose="020B0604020202020204" pitchFamily="34" charset="0"/>
              </a:rPr>
              <a:t>the annotations </a:t>
            </a:r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located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0" y="1453896"/>
            <a:ext cx="4178736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Header level Annotations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Body/Column level Annotations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1AF7272-BD55-0610-FE79-1F359FE60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4765" y="1806872"/>
            <a:ext cx="7524750" cy="420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3953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Components of a Data Model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Entities/Object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Attributes/Field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Relationships(Cardinalit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Data Typ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Constraints</a:t>
            </a:r>
          </a:p>
          <a:p>
            <a:pPr lvl="3" indent="0">
              <a:buNone/>
            </a:pPr>
            <a:endParaRPr lang="en-US" altLang="zh-TW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zh-TW" alt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209975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BAP Annotation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9021" y="1570521"/>
            <a:ext cx="5490412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AbapCatalog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AccessControl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ClientDependent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ClientHandling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DataAging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字版面配置區 14">
            <a:extLst>
              <a:ext uri="{FF2B5EF4-FFF2-40B4-BE49-F238E27FC236}">
                <a16:creationId xmlns:a16="http://schemas.microsoft.com/office/drawing/2014/main" id="{AB0A0C84-0BE7-C8CA-FAF7-855AEABE5BFA}"/>
              </a:ext>
            </a:extLst>
          </p:cNvPr>
          <p:cNvSpPr txBox="1">
            <a:spLocks/>
          </p:cNvSpPr>
          <p:nvPr/>
        </p:nvSpPr>
        <p:spPr>
          <a:xfrm>
            <a:off x="5879433" y="1570521"/>
            <a:ext cx="5490412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EndUserText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Environment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MappingRole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Metadata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Semantics-Annotations </a:t>
            </a: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想法泡泡: 雲朵 3">
            <a:extLst>
              <a:ext uri="{FF2B5EF4-FFF2-40B4-BE49-F238E27FC236}">
                <a16:creationId xmlns:a16="http://schemas.microsoft.com/office/drawing/2014/main" id="{1F702825-CECB-F060-2F60-1FE05391026C}"/>
              </a:ext>
            </a:extLst>
          </p:cNvPr>
          <p:cNvSpPr/>
          <p:nvPr/>
        </p:nvSpPr>
        <p:spPr bwMode="auto">
          <a:xfrm>
            <a:off x="4295276" y="4818565"/>
            <a:ext cx="6304546" cy="1538119"/>
          </a:xfrm>
          <a:prstGeom prst="cloudCallout">
            <a:avLst>
              <a:gd name="adj1" fmla="val -29520"/>
              <a:gd name="adj2" fmla="val -63438"/>
            </a:avLst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n be evaluated by ABAP framework and be evaluated by other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mponents </a:t>
            </a:r>
            <a:r>
              <a:rPr lang="en-US" altLang="zh-TW" sz="180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</a:t>
            </a: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ework</a:t>
            </a:r>
            <a:r>
              <a:rPr kumimoji="0" lang="en-US" altLang="zh-TW" sz="16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kumimoji="0" lang="zh-TW" altLang="en-US" sz="1600" b="0" i="0" u="none" strike="noStrike" cap="none" normalizeH="0" baseline="0" dirty="0">
              <a:ln>
                <a:noFill/>
              </a:ln>
              <a:solidFill>
                <a:srgbClr val="0033CC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687574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Other Framework specific Annotations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9021" y="1570521"/>
            <a:ext cx="5490412" cy="49064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nalytics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AnalyticsDetaiIs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onsumption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DefaultAggregation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EnterpriseSearch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Hierarchy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OData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ObjectModel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-Annotations  </a:t>
            </a: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字版面配置區 14">
            <a:extLst>
              <a:ext uri="{FF2B5EF4-FFF2-40B4-BE49-F238E27FC236}">
                <a16:creationId xmlns:a16="http://schemas.microsoft.com/office/drawing/2014/main" id="{AB0A0C84-0BE7-C8CA-FAF7-855AEABE5BFA}"/>
              </a:ext>
            </a:extLst>
          </p:cNvPr>
          <p:cNvSpPr txBox="1">
            <a:spLocks/>
          </p:cNvSpPr>
          <p:nvPr/>
        </p:nvSpPr>
        <p:spPr>
          <a:xfrm>
            <a:off x="5879433" y="1570522"/>
            <a:ext cx="5490412" cy="2616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Search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Semantics-Annotations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UI.Annotations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VDM-Annotations </a:t>
            </a:r>
          </a:p>
        </p:txBody>
      </p:sp>
      <p:sp>
        <p:nvSpPr>
          <p:cNvPr id="4" name="想法泡泡: 雲朵 3">
            <a:extLst>
              <a:ext uri="{FF2B5EF4-FFF2-40B4-BE49-F238E27FC236}">
                <a16:creationId xmlns:a16="http://schemas.microsoft.com/office/drawing/2014/main" id="{1F702825-CECB-F060-2F60-1FE05391026C}"/>
              </a:ext>
            </a:extLst>
          </p:cNvPr>
          <p:cNvSpPr/>
          <p:nvPr/>
        </p:nvSpPr>
        <p:spPr bwMode="auto">
          <a:xfrm>
            <a:off x="5299190" y="4686218"/>
            <a:ext cx="6304546" cy="1538119"/>
          </a:xfrm>
          <a:prstGeom prst="cloudCallout">
            <a:avLst>
              <a:gd name="adj1" fmla="val -29520"/>
              <a:gd name="adj2" fmla="val -63438"/>
            </a:avLst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18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quested by specific software components like ODATA, UI and Analytics.</a:t>
            </a:r>
            <a:r>
              <a:rPr kumimoji="0" lang="en-US" altLang="zh-TW" sz="1600" b="0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kumimoji="0" lang="zh-TW" altLang="en-US" sz="1600" b="0" i="0" u="none" strike="noStrike" cap="none" normalizeH="0" baseline="0" dirty="0">
              <a:ln>
                <a:noFill/>
              </a:ln>
              <a:solidFill>
                <a:srgbClr val="0033CC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624995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xample of ABAP Annotations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0" y="2950958"/>
            <a:ext cx="3497179" cy="22194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 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的效果在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eclipse or </a:t>
            </a:r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hana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studio 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看不出來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必須利用 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BAP program 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才能呈現</a:t>
            </a: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99C30C68-17D4-2D12-3674-09FB20845A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3303" y="1629068"/>
            <a:ext cx="6924507" cy="3599863"/>
          </a:xfrm>
          <a:prstGeom prst="rect">
            <a:avLst/>
          </a:prstGeom>
        </p:spPr>
      </p:pic>
      <p:sp>
        <p:nvSpPr>
          <p:cNvPr id="8" name="文字方塊 7">
            <a:extLst>
              <a:ext uri="{FF2B5EF4-FFF2-40B4-BE49-F238E27FC236}">
                <a16:creationId xmlns:a16="http://schemas.microsoft.com/office/drawing/2014/main" id="{701D0CA2-31CC-2033-B762-37CD5BE4173B}"/>
              </a:ext>
            </a:extLst>
          </p:cNvPr>
          <p:cNvSpPr txBox="1"/>
          <p:nvPr/>
        </p:nvSpPr>
        <p:spPr>
          <a:xfrm>
            <a:off x="693654" y="5170384"/>
            <a:ext cx="10579935" cy="75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dirty="0"/>
              <a:t> CL_SALV_gui_table_ida=&gt;create_for_cds_view('zji22_abap_anno')-&gt;fullscreen( )-&gt;display( ).</a:t>
            </a:r>
          </a:p>
        </p:txBody>
      </p:sp>
    </p:spTree>
    <p:extLst>
      <p:ext uri="{BB962C8B-B14F-4D97-AF65-F5344CB8AC3E}">
        <p14:creationId xmlns:p14="http://schemas.microsoft.com/office/powerpoint/2010/main" val="109452494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nalytics Annotations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0" y="1453896"/>
            <a:ext cx="9930063" cy="22194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Only CDS as a source for Analytics, not the direct DB table.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Analytics.query:true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Table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一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RSRREPDIR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vailable in RSRT transaction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21717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nalytics Annotations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0ECC06EF-E856-F693-B7AC-960D0A5B66E5}"/>
              </a:ext>
            </a:extLst>
          </p:cNvPr>
          <p:cNvSpPr txBox="1">
            <a:spLocks/>
          </p:cNvSpPr>
          <p:nvPr/>
        </p:nvSpPr>
        <p:spPr>
          <a:xfrm>
            <a:off x="381001" y="1453896"/>
            <a:ext cx="5715000" cy="22194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Only CDS as a source for Analytics, not the direct DB table.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Analytics.query:true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Table</a:t>
            </a:r>
            <a:r>
              <a:rPr lang="zh-TW" altLang="en-US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一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RREPDIR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vailable in </a:t>
            </a:r>
            <a:r>
              <a:rPr lang="en-US" altLang="zh-TW" sz="2400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RT transaction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E34DCEDA-AD13-2D9A-9F49-7D8AAC7414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9164" y="1314170"/>
            <a:ext cx="4469972" cy="4718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3988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s dependency</a:t>
            </a:r>
          </a:p>
        </p:txBody>
      </p:sp>
      <p:sp>
        <p:nvSpPr>
          <p:cNvPr id="3" name="文字版面配置區 14">
            <a:extLst>
              <a:ext uri="{FF2B5EF4-FFF2-40B4-BE49-F238E27FC236}">
                <a16:creationId xmlns:a16="http://schemas.microsoft.com/office/drawing/2014/main" id="{CD2F5336-2CAB-A91F-574A-9FEAD695328E}"/>
              </a:ext>
            </a:extLst>
          </p:cNvPr>
          <p:cNvSpPr txBox="1">
            <a:spLocks/>
          </p:cNvSpPr>
          <p:nvPr/>
        </p:nvSpPr>
        <p:spPr>
          <a:xfrm>
            <a:off x="381000" y="3429000"/>
            <a:ext cx="11000874" cy="5831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457200" indent="-4572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s work depends on other properties as well</a:t>
            </a:r>
          </a:p>
          <a:p>
            <a:pPr marL="457200" indent="-457200" defTabSz="914400">
              <a:buFont typeface="Wingdings" panose="05000000000000000000" pitchFamily="2" charset="2"/>
              <a:buChar char="l"/>
            </a:pPr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FB1826C9-24C4-F0CC-9338-152760C42DE1}"/>
              </a:ext>
            </a:extLst>
          </p:cNvPr>
          <p:cNvGrpSpPr/>
          <p:nvPr/>
        </p:nvGrpSpPr>
        <p:grpSpPr>
          <a:xfrm>
            <a:off x="766012" y="1436812"/>
            <a:ext cx="10110536" cy="4867735"/>
            <a:chOff x="766012" y="1436812"/>
            <a:chExt cx="10110536" cy="4867735"/>
          </a:xfrm>
        </p:grpSpPr>
        <p:sp>
          <p:nvSpPr>
            <p:cNvPr id="2" name="文字版面配置區 14">
              <a:extLst>
                <a:ext uri="{FF2B5EF4-FFF2-40B4-BE49-F238E27FC236}">
                  <a16:creationId xmlns:a16="http://schemas.microsoft.com/office/drawing/2014/main" id="{0ECC06EF-E856-F693-B7AC-960D0A5B66E5}"/>
                </a:ext>
              </a:extLst>
            </p:cNvPr>
            <p:cNvSpPr txBox="1">
              <a:spLocks/>
            </p:cNvSpPr>
            <p:nvPr/>
          </p:nvSpPr>
          <p:spPr>
            <a:xfrm>
              <a:off x="766012" y="1436812"/>
              <a:ext cx="10110536" cy="17395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rtl="0" eaLnBrk="1" fontAlgn="base" hangingPunct="1">
                <a:lnSpc>
                  <a:spcPct val="110000"/>
                </a:lnSpc>
                <a:spcBef>
                  <a:spcPts val="1500"/>
                </a:spcBef>
                <a:spcAft>
                  <a:spcPct val="0"/>
                </a:spcAft>
                <a:buClr>
                  <a:srgbClr val="001141"/>
                </a:buClr>
                <a:buSzPct val="90000"/>
                <a:buFont typeface="IBM Plex Sans Light" pitchFamily="2" charset="2"/>
                <a:buNone/>
                <a:defRPr sz="1500" b="0" i="0">
                  <a:solidFill>
                    <a:schemeClr val="tx1"/>
                  </a:solidFill>
                  <a:latin typeface="IBM Plex Sans Light" panose="020B0403050203000203" pitchFamily="34" charset="0"/>
                  <a:ea typeface="IBM Plex Sans Light" panose="020B0403050203000203" pitchFamily="34" charset="0"/>
                  <a:cs typeface="IBM Plex Sans Light" panose="020B0403050203000203" pitchFamily="34" charset="0"/>
                </a:defRPr>
              </a:lvl1pPr>
              <a:lvl2pPr marL="152394" indent="-152394" algn="l" rtl="0" eaLnBrk="1" fontAlgn="base" hangingPunct="1">
                <a:lnSpc>
                  <a:spcPct val="110000"/>
                </a:lnSpc>
                <a:spcBef>
                  <a:spcPts val="1000"/>
                </a:spcBef>
                <a:spcAft>
                  <a:spcPct val="0"/>
                </a:spcAft>
                <a:buClr>
                  <a:srgbClr val="001141"/>
                </a:buClr>
                <a:buSzPct val="100000"/>
                <a:buFont typeface="IBM Plex Sans Light" charset="-120"/>
                <a:buChar char="–"/>
                <a:tabLst/>
                <a:defRPr sz="1500" b="0" i="0">
                  <a:solidFill>
                    <a:schemeClr val="tx1"/>
                  </a:solidFill>
                  <a:latin typeface="IBM Plex Sans Light" panose="020B0403050203000203" pitchFamily="34" charset="0"/>
                  <a:ea typeface="IBM Plex Sans Light" panose="020B0403050203000203" pitchFamily="34" charset="0"/>
                  <a:cs typeface="IBM Plex Sans Light" panose="020B0403050203000203" pitchFamily="34" charset="0"/>
                </a:defRPr>
              </a:lvl2pPr>
              <a:lvl3pPr marL="304788" indent="-152394" algn="l" rtl="0" eaLnBrk="1" fontAlgn="base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41"/>
                </a:buClr>
                <a:buSzPct val="100000"/>
                <a:buFont typeface="IBM Plex Sans Light" panose="020B0604020202020204" pitchFamily="34" charset="0"/>
                <a:buChar char="•"/>
                <a:tabLst/>
                <a:defRPr sz="1500" b="0" i="0">
                  <a:solidFill>
                    <a:schemeClr val="tx1"/>
                  </a:solidFill>
                  <a:latin typeface="IBM Plex Sans Light" panose="020B0403050203000203" pitchFamily="34" charset="0"/>
                  <a:ea typeface="IBM Plex Sans Light" panose="020B0403050203000203" pitchFamily="34" charset="0"/>
                  <a:cs typeface="IBM Plex Sans Light" panose="020B0403050203000203" pitchFamily="34" charset="0"/>
                </a:defRPr>
              </a:lvl3pPr>
              <a:lvl4pPr marL="457182" indent="-152394" algn="l" rtl="0" eaLnBrk="1" fontAlgn="base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41"/>
                </a:buClr>
                <a:buSzPct val="100000"/>
                <a:buFont typeface="IBM Plex Sans Light" charset="-120"/>
                <a:buChar char="–"/>
                <a:tabLst/>
                <a:defRPr sz="1500" b="0" i="0" baseline="0">
                  <a:solidFill>
                    <a:schemeClr val="tx1"/>
                  </a:solidFill>
                  <a:latin typeface="IBM Plex Sans Light" panose="020B0403050203000203" pitchFamily="34" charset="0"/>
                  <a:ea typeface="IBM Plex Sans Light" panose="020B0403050203000203" pitchFamily="34" charset="0"/>
                  <a:cs typeface="IBM Plex Sans Light" panose="020B0403050203000203" pitchFamily="34" charset="0"/>
                </a:defRPr>
              </a:lvl4pPr>
              <a:lvl5pPr marL="609576" indent="-152394" algn="l" rtl="0" eaLnBrk="1" fontAlgn="base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41"/>
                </a:buClr>
                <a:buFont typeface="IBM Plex Sans Light" charset="-120"/>
                <a:buChar char="»"/>
                <a:tabLst/>
                <a:defRPr sz="1500" b="0" i="0">
                  <a:solidFill>
                    <a:schemeClr val="tx1"/>
                  </a:solidFill>
                  <a:latin typeface="IBM Plex Sans Light" panose="020B0403050203000203" pitchFamily="34" charset="0"/>
                  <a:ea typeface="IBM Plex Sans Light" panose="020B0403050203000203" pitchFamily="34" charset="0"/>
                  <a:cs typeface="IBM Plex Sans Light" panose="020B0403050203000203" pitchFamily="34" charset="0"/>
                </a:defRPr>
              </a:lvl5pPr>
              <a:lvl6pPr marL="2111544" indent="-172886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 Light" charset="0"/>
                </a:defRPr>
              </a:lvl6pPr>
              <a:lvl7pPr marL="2594951" indent="-172886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 Light" charset="0"/>
                </a:defRPr>
              </a:lvl7pPr>
              <a:lvl8pPr marL="3078357" indent="-172886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 Light" charset="0"/>
                </a:defRPr>
              </a:lvl8pPr>
              <a:lvl9pPr marL="3561764" indent="-172886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92">
                  <a:solidFill>
                    <a:schemeClr val="bg1"/>
                  </a:solidFill>
                  <a:latin typeface="IBM Plex Sans Light" charset="0"/>
                </a:defRPr>
              </a:lvl9pPr>
            </a:lstStyle>
            <a:p>
              <a:pPr algn="ctr" defTabSz="914400"/>
              <a:r>
                <a:rPr lang="en-US" altLang="zh-TW" sz="24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@Analytics.query:true</a:t>
              </a:r>
            </a:p>
            <a:p>
              <a:pPr algn="ctr" defTabSz="914400"/>
              <a:endPara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914400"/>
              <a:r>
                <a:rPr lang="en-US" altLang="zh-TW" sz="240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@AnalyticsDetails.query.formula: ‘Field1 + Field2 * Constant Value’</a:t>
              </a:r>
            </a:p>
            <a:p>
              <a:pPr marL="457200" indent="-457200" defTabSz="914400">
                <a:buFont typeface="Wingdings" panose="05000000000000000000" pitchFamily="2" charset="2"/>
                <a:buChar char="l"/>
              </a:pPr>
              <a:endPara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箭號: 向下 4">
              <a:extLst>
                <a:ext uri="{FF2B5EF4-FFF2-40B4-BE49-F238E27FC236}">
                  <a16:creationId xmlns:a16="http://schemas.microsoft.com/office/drawing/2014/main" id="{14E1F230-EC87-38E1-04DB-2193DA47973A}"/>
                </a:ext>
              </a:extLst>
            </p:cNvPr>
            <p:cNvSpPr/>
            <p:nvPr/>
          </p:nvSpPr>
          <p:spPr bwMode="auto">
            <a:xfrm>
              <a:off x="5173579" y="2021305"/>
              <a:ext cx="818147" cy="469232"/>
            </a:xfrm>
            <a:prstGeom prst="downArrow">
              <a:avLst/>
            </a:prstGeom>
            <a:solidFill>
              <a:srgbClr val="1192E8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zh-TW" alt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7" name="矩形: 圓角化對角角落 6">
              <a:extLst>
                <a:ext uri="{FF2B5EF4-FFF2-40B4-BE49-F238E27FC236}">
                  <a16:creationId xmlns:a16="http://schemas.microsoft.com/office/drawing/2014/main" id="{3C2B271C-97A0-1EDB-F7B8-A8F5F196D0F4}"/>
                </a:ext>
              </a:extLst>
            </p:cNvPr>
            <p:cNvSpPr/>
            <p:nvPr/>
          </p:nvSpPr>
          <p:spPr bwMode="auto">
            <a:xfrm>
              <a:off x="1732547" y="5519366"/>
              <a:ext cx="4259179" cy="785181"/>
            </a:xfrm>
            <a:prstGeom prst="round2DiagRect">
              <a:avLst/>
            </a:prstGeom>
            <a:noFill/>
            <a:ln w="190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kumimoji="0" lang="en-US" altLang="zh-TW" sz="1800" b="1" i="0" u="none" strike="noStrike" cap="none" normalizeH="0" baseline="0" dirty="0">
                  <a:ln>
                    <a:noFill/>
                  </a:ln>
                  <a:solidFill>
                    <a:srgbClr val="00B050"/>
                  </a:solidFill>
                  <a:effectLst/>
                  <a:latin typeface="Microsoft JhengHei Light" panose="020B0304030504040204" pitchFamily="34" charset="-120"/>
                  <a:ea typeface="Microsoft JhengHei Light" panose="020B0304030504040204" pitchFamily="34" charset="-120"/>
                </a:rPr>
                <a:t>Cube category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lang="en-US" altLang="zh-TW" sz="1800" b="1" dirty="0">
                  <a:solidFill>
                    <a:srgbClr val="00B050"/>
                  </a:solidFill>
                  <a:latin typeface="Microsoft JhengHei Light" panose="020B0304030504040204" pitchFamily="34" charset="-120"/>
                  <a:ea typeface="Microsoft JhengHei Light" panose="020B0304030504040204" pitchFamily="34" charset="-120"/>
                </a:rPr>
                <a:t>@Analytics.dataCategory: #CUBE</a:t>
              </a:r>
              <a:endParaRPr kumimoji="0" lang="zh-TW" altLang="en-US" sz="1800" b="1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Microsoft JhengHei Light" panose="020B0304030504040204" pitchFamily="34" charset="-120"/>
                <a:ea typeface="Microsoft JhengHei Light" panose="020B0304030504040204" pitchFamily="34" charset="-120"/>
              </a:endParaRPr>
            </a:p>
          </p:txBody>
        </p:sp>
        <p:sp>
          <p:nvSpPr>
            <p:cNvPr id="8" name="矩形: 圓角化對角角落 7">
              <a:extLst>
                <a:ext uri="{FF2B5EF4-FFF2-40B4-BE49-F238E27FC236}">
                  <a16:creationId xmlns:a16="http://schemas.microsoft.com/office/drawing/2014/main" id="{94596E42-5329-3869-8EA0-F7F8A6BB0824}"/>
                </a:ext>
              </a:extLst>
            </p:cNvPr>
            <p:cNvSpPr/>
            <p:nvPr/>
          </p:nvSpPr>
          <p:spPr bwMode="auto">
            <a:xfrm>
              <a:off x="1732547" y="4090134"/>
              <a:ext cx="4259179" cy="785181"/>
            </a:xfrm>
            <a:prstGeom prst="round2DiagRect">
              <a:avLst/>
            </a:prstGeom>
            <a:noFill/>
            <a:ln w="190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kumimoji="0" lang="en-US" altLang="zh-TW" sz="1800" b="1" i="0" u="none" strike="noStrike" cap="none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latin typeface="Microsoft JhengHei Light" panose="020B0304030504040204" pitchFamily="34" charset="-120"/>
                  <a:ea typeface="Microsoft JhengHei Light" panose="020B0304030504040204" pitchFamily="34" charset="-120"/>
                </a:rPr>
                <a:t>Consumption View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r>
                <a:rPr lang="en-US" altLang="zh-TW" sz="1800" b="1" dirty="0">
                  <a:solidFill>
                    <a:schemeClr val="accent1"/>
                  </a:solidFill>
                  <a:latin typeface="Microsoft JhengHei Light" panose="020B0304030504040204" pitchFamily="34" charset="-120"/>
                  <a:ea typeface="Microsoft JhengHei Light" panose="020B0304030504040204" pitchFamily="34" charset="-120"/>
                </a:rPr>
                <a:t>@VDM.viewType : #CONSUMPTION</a:t>
              </a:r>
              <a:endParaRPr kumimoji="0" lang="zh-TW" altLang="en-US" sz="18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Microsoft JhengHei Light" panose="020B0304030504040204" pitchFamily="34" charset="-120"/>
                <a:ea typeface="Microsoft JhengHei Light" panose="020B0304030504040204" pitchFamily="34" charset="-120"/>
              </a:endParaRPr>
            </a:p>
          </p:txBody>
        </p:sp>
        <p:sp>
          <p:nvSpPr>
            <p:cNvPr id="9" name="箭號: 向上 8">
              <a:extLst>
                <a:ext uri="{FF2B5EF4-FFF2-40B4-BE49-F238E27FC236}">
                  <a16:creationId xmlns:a16="http://schemas.microsoft.com/office/drawing/2014/main" id="{DABA43BF-1B00-2C31-06F4-57D889DBF173}"/>
                </a:ext>
              </a:extLst>
            </p:cNvPr>
            <p:cNvSpPr/>
            <p:nvPr/>
          </p:nvSpPr>
          <p:spPr bwMode="auto">
            <a:xfrm>
              <a:off x="3398920" y="5041232"/>
              <a:ext cx="926432" cy="379957"/>
            </a:xfrm>
            <a:prstGeom prst="upArrow">
              <a:avLst/>
            </a:prstGeom>
            <a:solidFill>
              <a:srgbClr val="FFC000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zh-TW" alt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10" name="文字方塊 9">
              <a:extLst>
                <a:ext uri="{FF2B5EF4-FFF2-40B4-BE49-F238E27FC236}">
                  <a16:creationId xmlns:a16="http://schemas.microsoft.com/office/drawing/2014/main" id="{47B14F09-5B69-B662-1730-43B57F5956B5}"/>
                </a:ext>
              </a:extLst>
            </p:cNvPr>
            <p:cNvSpPr txBox="1"/>
            <p:nvPr/>
          </p:nvSpPr>
          <p:spPr>
            <a:xfrm>
              <a:off x="6340640" y="4292184"/>
              <a:ext cx="4379495" cy="583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  <a:spcBef>
                  <a:spcPts val="1800"/>
                </a:spcBef>
              </a:pPr>
              <a:r>
                <a:rPr lang="en-US" altLang="zh-TW" sz="1800" b="1" dirty="0">
                  <a:solidFill>
                    <a:srgbClr val="FFC000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@DefaultAggregation : #SUM</a:t>
              </a:r>
              <a:endParaRPr lang="zh-TW" altLang="en-US" sz="1800" b="1" dirty="0" err="1">
                <a:solidFill>
                  <a:srgbClr val="FFC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endParaRPr>
            </a:p>
          </p:txBody>
        </p:sp>
        <p:sp>
          <p:nvSpPr>
            <p:cNvPr id="11" name="文字方塊 10">
              <a:extLst>
                <a:ext uri="{FF2B5EF4-FFF2-40B4-BE49-F238E27FC236}">
                  <a16:creationId xmlns:a16="http://schemas.microsoft.com/office/drawing/2014/main" id="{EAA8AB5C-0981-08DD-2A63-1EDDC5B413AC}"/>
                </a:ext>
              </a:extLst>
            </p:cNvPr>
            <p:cNvSpPr txBox="1"/>
            <p:nvPr/>
          </p:nvSpPr>
          <p:spPr>
            <a:xfrm>
              <a:off x="6340640" y="5695669"/>
              <a:ext cx="4379495" cy="583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  <a:spcBef>
                  <a:spcPts val="1800"/>
                </a:spcBef>
              </a:pPr>
              <a:r>
                <a:rPr lang="en-US" altLang="zh-TW" sz="1800" b="1" dirty="0">
                  <a:solidFill>
                    <a:srgbClr val="00B0F0"/>
                  </a:solidFill>
                  <a:latin typeface="Arial" panose="020B0604020202020204" pitchFamily="34" charset="0"/>
                  <a:ea typeface="IBM Plex Sans" charset="0"/>
                  <a:cs typeface="Arial" panose="020B0604020202020204" pitchFamily="34" charset="0"/>
                </a:rPr>
                <a:t>@DefaultAggregation : #SUM</a:t>
              </a:r>
              <a:endParaRPr lang="zh-TW" altLang="en-US" sz="1800" b="1" dirty="0" err="1">
                <a:solidFill>
                  <a:srgbClr val="00B0F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485537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xample of Annotations dependency</a:t>
            </a:r>
          </a:p>
        </p:txBody>
      </p:sp>
      <p:pic>
        <p:nvPicPr>
          <p:cNvPr id="11" name="圖片 10">
            <a:extLst>
              <a:ext uri="{FF2B5EF4-FFF2-40B4-BE49-F238E27FC236}">
                <a16:creationId xmlns:a16="http://schemas.microsoft.com/office/drawing/2014/main" id="{5DB11DA4-EE7D-5B1A-8DE7-F404EB8E6E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631698"/>
            <a:ext cx="4829827" cy="3883544"/>
          </a:xfrm>
          <a:prstGeom prst="rect">
            <a:avLst/>
          </a:prstGeom>
        </p:spPr>
      </p:pic>
      <p:pic>
        <p:nvPicPr>
          <p:cNvPr id="15" name="圖片 14">
            <a:extLst>
              <a:ext uri="{FF2B5EF4-FFF2-40B4-BE49-F238E27FC236}">
                <a16:creationId xmlns:a16="http://schemas.microsoft.com/office/drawing/2014/main" id="{5353E93A-DBC8-ECFA-FB5A-4728DDF4DF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5081" y="1631698"/>
            <a:ext cx="7420901" cy="4444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68993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3600" b="1" kern="0" dirty="0">
                <a:latin typeface="Arial" panose="020B0604020202020204" pitchFamily="34" charset="0"/>
                <a:cs typeface="Arial" panose="020B0604020202020204" pitchFamily="34" charset="0"/>
              </a:rPr>
              <a:t>Evaluating Annotations in</a:t>
            </a:r>
            <a:r>
              <a:rPr lang="zh-TW" altLang="en-US" sz="36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3600" b="1" kern="0" dirty="0">
                <a:latin typeface="Arial" panose="020B0604020202020204" pitchFamily="34" charset="0"/>
                <a:cs typeface="Arial" panose="020B0604020202020204" pitchFamily="34" charset="0"/>
              </a:rPr>
              <a:t>Query Monitor(RSRT)</a:t>
            </a:r>
          </a:p>
        </p:txBody>
      </p:sp>
      <p:sp>
        <p:nvSpPr>
          <p:cNvPr id="3" name="文字版面配置區 14">
            <a:extLst>
              <a:ext uri="{FF2B5EF4-FFF2-40B4-BE49-F238E27FC236}">
                <a16:creationId xmlns:a16="http://schemas.microsoft.com/office/drawing/2014/main" id="{0543329E-66EE-4E29-312D-F68085434729}"/>
              </a:ext>
            </a:extLst>
          </p:cNvPr>
          <p:cNvSpPr txBox="1">
            <a:spLocks/>
          </p:cNvSpPr>
          <p:nvPr/>
        </p:nvSpPr>
        <p:spPr>
          <a:xfrm>
            <a:off x="602862" y="1744790"/>
            <a:ext cx="3380415" cy="2789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Analytics.query: true</a:t>
            </a:r>
          </a:p>
          <a:p>
            <a:pPr defTabSz="914400"/>
            <a:endParaRPr lang="en-US" altLang="zh-TW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7FCB4BAF-17BF-CC82-69CD-706FF2112B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6116" y="1607004"/>
            <a:ext cx="7826399" cy="4618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117398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valuating Annotations in Query Monitor(1/4)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A67E0B1F-A4F2-B634-67F6-1EB1640F96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9425" y="1231101"/>
            <a:ext cx="8929189" cy="5245899"/>
          </a:xfrm>
          <a:prstGeom prst="rect">
            <a:avLst/>
          </a:prstGeom>
        </p:spPr>
      </p:pic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744790"/>
            <a:ext cx="1748425" cy="873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r>
              <a:rPr lang="en-US" altLang="zh-TW" sz="24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Tcode</a:t>
            </a: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 :  RSRT</a:t>
            </a:r>
          </a:p>
        </p:txBody>
      </p:sp>
    </p:spTree>
    <p:extLst>
      <p:ext uri="{BB962C8B-B14F-4D97-AF65-F5344CB8AC3E}">
        <p14:creationId xmlns:p14="http://schemas.microsoft.com/office/powerpoint/2010/main" val="380700282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valuating Annotations in Query Monitor(2/4)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7"/>
            <a:ext cx="2875767" cy="873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With Annotation  @AnalyticsDetails.query.axis: #ROWS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EA8F207-0BBF-7EC1-4A71-3B6FE21DEA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3171" y="1453896"/>
            <a:ext cx="7177415" cy="5630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0135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dirty="0">
                <a:latin typeface="Arial" panose="020B0604020202020204" pitchFamily="34" charset="0"/>
                <a:cs typeface="Arial" panose="020B0604020202020204" pitchFamily="34" charset="0"/>
              </a:rPr>
              <a:t>Why Data Models Matter in App Development</a:t>
            </a:r>
            <a:endParaRPr lang="zh-TW" alt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字版面配置區 14">
            <a:extLst>
              <a:ext uri="{FF2B5EF4-FFF2-40B4-BE49-F238E27FC236}">
                <a16:creationId xmlns:a16="http://schemas.microsoft.com/office/drawing/2014/main" id="{4D048E62-AB36-1ABF-3CDF-13D8B92A1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554480"/>
            <a:ext cx="10600944" cy="462686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Consistency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Scalability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Data Integr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Ease of Develop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TW" sz="2800" dirty="0">
                <a:latin typeface="Arial" panose="020B0604020202020204" pitchFamily="34" charset="0"/>
                <a:cs typeface="Arial" panose="020B0604020202020204" pitchFamily="34" charset="0"/>
              </a:rPr>
              <a:t>Constraints</a:t>
            </a:r>
          </a:p>
          <a:p>
            <a:pPr lvl="3" indent="0">
              <a:buNone/>
            </a:pPr>
            <a:endParaRPr lang="en-US" altLang="zh-TW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zh-TW" alt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82468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valuating Annotations in Query Monitor(3/4)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7"/>
            <a:ext cx="2875767" cy="873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With Annotation  @AnalyticsDetails.query.sortDirection: #DESC</a:t>
            </a: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2A8E3C2C-9EFB-3683-97CF-785530D44F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7095" y="1539637"/>
            <a:ext cx="7406313" cy="5815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67608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Evaluating Annotations in</a:t>
            </a:r>
            <a:r>
              <a:rPr lang="zh-TW" altLang="en-US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 報表監視器</a:t>
            </a:r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(4/4)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7"/>
            <a:ext cx="2875767" cy="13845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With Annotation @DefaultAggregation: #SUM </a:t>
            </a: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1D6852B8-89FC-1608-4AEA-621185FC6C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3788" y="1161588"/>
            <a:ext cx="7224577" cy="516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434468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Data Control Language(DCL)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6"/>
            <a:ext cx="10194758" cy="23711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It restricts the data returned from a CDS entity.</a:t>
            </a: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Literal conditions</a:t>
            </a: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PFCG Conditions</a:t>
            </a: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Different combinations are also allowed</a:t>
            </a:r>
          </a:p>
        </p:txBody>
      </p:sp>
      <p:sp>
        <p:nvSpPr>
          <p:cNvPr id="2" name="文字版面配置區 14">
            <a:extLst>
              <a:ext uri="{FF2B5EF4-FFF2-40B4-BE49-F238E27FC236}">
                <a16:creationId xmlns:a16="http://schemas.microsoft.com/office/drawing/2014/main" id="{A4A45FCE-D18F-E4D9-A657-7AF03E77C23B}"/>
              </a:ext>
            </a:extLst>
          </p:cNvPr>
          <p:cNvSpPr txBox="1">
            <a:spLocks/>
          </p:cNvSpPr>
          <p:nvPr/>
        </p:nvSpPr>
        <p:spPr>
          <a:xfrm>
            <a:off x="1616242" y="3801979"/>
            <a:ext cx="10194758" cy="12562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>
              <a:lnSpc>
                <a:spcPct val="100000"/>
              </a:lnSpc>
              <a:spcBef>
                <a:spcPts val="600"/>
              </a:spcBef>
            </a:pPr>
            <a:r>
              <a:rPr lang="en-US" altLang="zh-TW" sz="2000" b="1" kern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INFE ROLE &lt;</a:t>
            </a:r>
            <a:r>
              <a:rPr lang="en-US" altLang="zh-TW" sz="2000" b="1" kern="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ename</a:t>
            </a:r>
            <a:r>
              <a:rPr lang="en-US" altLang="zh-TW" sz="2000" b="1" kern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(</a:t>
            </a:r>
          </a:p>
          <a:p>
            <a:pPr defTabSz="914400">
              <a:lnSpc>
                <a:spcPct val="100000"/>
              </a:lnSpc>
              <a:spcBef>
                <a:spcPts val="600"/>
              </a:spcBef>
            </a:pPr>
            <a:r>
              <a:rPr lang="en-US" altLang="zh-TW" sz="2000" b="1" kern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GRANT SELECTON &lt;CDS entity name&gt;</a:t>
            </a:r>
          </a:p>
          <a:p>
            <a:pPr defTabSz="914400">
              <a:lnSpc>
                <a:spcPct val="100000"/>
              </a:lnSpc>
              <a:spcBef>
                <a:spcPts val="600"/>
              </a:spcBef>
            </a:pPr>
            <a:r>
              <a:rPr lang="en-US" altLang="zh-TW" sz="2000" b="1" kern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WHERE&lt;condition&gt;;</a:t>
            </a:r>
          </a:p>
        </p:txBody>
      </p:sp>
      <p:sp>
        <p:nvSpPr>
          <p:cNvPr id="5" name="文字版面配置區 14">
            <a:extLst>
              <a:ext uri="{FF2B5EF4-FFF2-40B4-BE49-F238E27FC236}">
                <a16:creationId xmlns:a16="http://schemas.microsoft.com/office/drawing/2014/main" id="{75E1672E-652B-7DF3-2E44-AAD335A89F1B}"/>
              </a:ext>
            </a:extLst>
          </p:cNvPr>
          <p:cNvSpPr txBox="1">
            <a:spLocks/>
          </p:cNvSpPr>
          <p:nvPr/>
        </p:nvSpPr>
        <p:spPr>
          <a:xfrm>
            <a:off x="6096000" y="4851825"/>
            <a:ext cx="5558590" cy="1856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defTabSz="914400"/>
            <a:r>
              <a:rPr lang="en-US" altLang="zh-TW" sz="2000" b="1" kern="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ition :</a:t>
            </a:r>
          </a:p>
          <a:p>
            <a:pPr marL="342900" indent="-342900" defTabSz="914400">
              <a:spcBef>
                <a:spcPts val="600"/>
              </a:spcBef>
              <a:buFont typeface="Wingdings" panose="05000000000000000000" pitchFamily="2" charset="2"/>
              <a:buChar char="l"/>
            </a:pPr>
            <a:r>
              <a:rPr lang="en-US" altLang="zh-TW" sz="2000" b="1" kern="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mal WHERE condition(s)</a:t>
            </a:r>
          </a:p>
          <a:p>
            <a:pPr marL="342900" indent="-342900" defTabSz="914400">
              <a:spcBef>
                <a:spcPts val="600"/>
              </a:spcBef>
              <a:buFont typeface="Wingdings" panose="05000000000000000000" pitchFamily="2" charset="2"/>
              <a:buChar char="l"/>
            </a:pPr>
            <a:r>
              <a:rPr lang="en-US" altLang="zh-TW" sz="2000" b="1" kern="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FCG authorization field values</a:t>
            </a:r>
          </a:p>
          <a:p>
            <a:pPr marL="342900" indent="-342900" defTabSz="914400">
              <a:spcBef>
                <a:spcPts val="600"/>
              </a:spcBef>
              <a:buFont typeface="Wingdings" panose="05000000000000000000" pitchFamily="2" charset="2"/>
              <a:buChar char="l"/>
            </a:pPr>
            <a:r>
              <a:rPr lang="en-US" altLang="zh-TW" sz="2000" b="1" kern="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ation of both</a:t>
            </a:r>
          </a:p>
        </p:txBody>
      </p:sp>
    </p:spTree>
    <p:extLst>
      <p:ext uri="{BB962C8B-B14F-4D97-AF65-F5344CB8AC3E}">
        <p14:creationId xmlns:p14="http://schemas.microsoft.com/office/powerpoint/2010/main" val="349994623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6"/>
            <a:ext cx="10194758" cy="23711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 : @AccessControl.authorizationCheck</a:t>
            </a: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</a:p>
          <a:p>
            <a:pPr marL="647688" lvl="2" indent="-3429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#CHECK</a:t>
            </a:r>
          </a:p>
          <a:p>
            <a:pPr marL="647688" lvl="2" indent="-3429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#NOTALLOWED</a:t>
            </a:r>
          </a:p>
          <a:p>
            <a:pPr marL="647688" lvl="2" indent="-3429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#NOT_REQUIRED</a:t>
            </a:r>
          </a:p>
          <a:p>
            <a:pPr marL="647688" lvl="2" indent="-3429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#PRIVILEGEDONLYLiteral conditions</a:t>
            </a:r>
          </a:p>
        </p:txBody>
      </p:sp>
      <p:sp>
        <p:nvSpPr>
          <p:cNvPr id="3" name="語音泡泡: 圓角矩形 2">
            <a:extLst>
              <a:ext uri="{FF2B5EF4-FFF2-40B4-BE49-F238E27FC236}">
                <a16:creationId xmlns:a16="http://schemas.microsoft.com/office/drawing/2014/main" id="{95AF7A89-9F91-0E73-81AA-E18158461830}"/>
              </a:ext>
            </a:extLst>
          </p:cNvPr>
          <p:cNvSpPr/>
          <p:nvPr/>
        </p:nvSpPr>
        <p:spPr bwMode="auto">
          <a:xfrm>
            <a:off x="7447548" y="1967294"/>
            <a:ext cx="2273968" cy="1072896"/>
          </a:xfrm>
          <a:prstGeom prst="wedgeRoundRectCallout">
            <a:avLst>
              <a:gd name="adj1" fmla="val -40410"/>
              <a:gd name="adj2" fmla="val -62138"/>
              <a:gd name="adj3" fmla="val 16667"/>
            </a:avLst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2000" b="1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ader level</a:t>
            </a:r>
          </a:p>
        </p:txBody>
      </p:sp>
    </p:spTree>
    <p:extLst>
      <p:ext uri="{BB962C8B-B14F-4D97-AF65-F5344CB8AC3E}">
        <p14:creationId xmlns:p14="http://schemas.microsoft.com/office/powerpoint/2010/main" val="281714454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(1/9)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6"/>
            <a:ext cx="10194758" cy="23711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nnotation : @AccessControl.authorizationCheck</a:t>
            </a: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</a:p>
          <a:p>
            <a:pPr marL="647688" lvl="2" indent="-3429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#CHECK</a:t>
            </a:r>
          </a:p>
          <a:p>
            <a:pPr marL="647688" lvl="2" indent="-3429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#NOTALLOWED</a:t>
            </a:r>
          </a:p>
          <a:p>
            <a:pPr marL="647688" lvl="2" indent="-3429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#NOT_REQUIRED</a:t>
            </a:r>
          </a:p>
          <a:p>
            <a:pPr marL="647688" lvl="2" indent="-342900" defTabSz="91440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#PRIVILEGEDONLYLiteral conditions</a:t>
            </a:r>
          </a:p>
        </p:txBody>
      </p:sp>
      <p:sp>
        <p:nvSpPr>
          <p:cNvPr id="3" name="語音泡泡: 圓角矩形 2">
            <a:extLst>
              <a:ext uri="{FF2B5EF4-FFF2-40B4-BE49-F238E27FC236}">
                <a16:creationId xmlns:a16="http://schemas.microsoft.com/office/drawing/2014/main" id="{95AF7A89-9F91-0E73-81AA-E18158461830}"/>
              </a:ext>
            </a:extLst>
          </p:cNvPr>
          <p:cNvSpPr/>
          <p:nvPr/>
        </p:nvSpPr>
        <p:spPr bwMode="auto">
          <a:xfrm>
            <a:off x="7447548" y="1967294"/>
            <a:ext cx="2273968" cy="1072896"/>
          </a:xfrm>
          <a:prstGeom prst="wedgeRoundRectCallout">
            <a:avLst>
              <a:gd name="adj1" fmla="val -40410"/>
              <a:gd name="adj2" fmla="val -62138"/>
              <a:gd name="adj3" fmla="val 16667"/>
            </a:avLst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r>
              <a:rPr kumimoji="0" lang="en-US" altLang="zh-TW" sz="2000" b="1" i="0" u="none" strike="noStrike" cap="none" normalizeH="0" baseline="0" dirty="0">
                <a:ln>
                  <a:noFill/>
                </a:ln>
                <a:solidFill>
                  <a:srgbClr val="0033C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ader level</a:t>
            </a:r>
          </a:p>
        </p:txBody>
      </p:sp>
    </p:spTree>
    <p:extLst>
      <p:ext uri="{BB962C8B-B14F-4D97-AF65-F5344CB8AC3E}">
        <p14:creationId xmlns:p14="http://schemas.microsoft.com/office/powerpoint/2010/main" val="95049833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(2/9)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6"/>
            <a:ext cx="10194758" cy="23711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@AccessControl.authorizationCheck: #CHECK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A6512FC1-088D-4C5C-BD3F-2BB0845AE9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3075" y="2299310"/>
            <a:ext cx="7798585" cy="3877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68236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(3/9)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6"/>
            <a:ext cx="10194758" cy="23711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 Access control</a:t>
            </a: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4C85213A-1320-8EC2-EB8D-35E5048122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616412"/>
            <a:ext cx="4809171" cy="3643450"/>
          </a:xfrm>
          <a:prstGeom prst="rect">
            <a:avLst/>
          </a:prstGeom>
        </p:spPr>
      </p:pic>
      <p:pic>
        <p:nvPicPr>
          <p:cNvPr id="3" name="圖片 2">
            <a:extLst>
              <a:ext uri="{FF2B5EF4-FFF2-40B4-BE49-F238E27FC236}">
                <a16:creationId xmlns:a16="http://schemas.microsoft.com/office/drawing/2014/main" id="{72E7FA6F-5C36-216A-4676-E42439A703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8068" y="1200013"/>
            <a:ext cx="6500986" cy="4142463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46CB241D-F8EA-6A18-066B-BBEA5B1674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6762" y="4160077"/>
            <a:ext cx="3161488" cy="234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723036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(4/9)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6"/>
            <a:ext cx="10194758" cy="23711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 Access control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C4BED3B2-49D2-5202-00A3-9109F7EE96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155" y="2285941"/>
            <a:ext cx="9241689" cy="3864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531892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pPr defTabSz="914400"/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(5/9)</a:t>
            </a: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430846"/>
            <a:ext cx="3842084" cy="23711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Before Access control</a:t>
            </a:r>
          </a:p>
        </p:txBody>
      </p:sp>
      <p:sp>
        <p:nvSpPr>
          <p:cNvPr id="3" name="文字版面配置區 14">
            <a:extLst>
              <a:ext uri="{FF2B5EF4-FFF2-40B4-BE49-F238E27FC236}">
                <a16:creationId xmlns:a16="http://schemas.microsoft.com/office/drawing/2014/main" id="{37347C57-5B27-51CA-9B83-5F49C8C3E88E}"/>
              </a:ext>
            </a:extLst>
          </p:cNvPr>
          <p:cNvSpPr txBox="1">
            <a:spLocks/>
          </p:cNvSpPr>
          <p:nvPr/>
        </p:nvSpPr>
        <p:spPr>
          <a:xfrm>
            <a:off x="6096000" y="1430845"/>
            <a:ext cx="3842084" cy="23711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fter Access control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ECE1F523-84ED-1E97-2DD8-108620D5B7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7533" y="2009340"/>
            <a:ext cx="4059558" cy="3922228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1813D56D-5E9E-71E1-1DFA-5F9B926BD9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130" y="2009340"/>
            <a:ext cx="3719491" cy="4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19812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83738331-2AF1-6D0F-5119-88BE55D6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222736" cy="1072896"/>
          </a:xfrm>
        </p:spPr>
        <p:txBody>
          <a:bodyPr/>
          <a:lstStyle/>
          <a:p>
            <a: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  <a:t>Authorization Annotation(6/9) --</a:t>
            </a:r>
            <a:br>
              <a:rPr lang="en-US" altLang="zh-TW" sz="4000" b="1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zh-TW" sz="3200" b="1" kern="0" dirty="0">
                <a:latin typeface="Arial" panose="020B0604020202020204" pitchFamily="34" charset="0"/>
                <a:cs typeface="Arial" panose="020B0604020202020204" pitchFamily="34" charset="0"/>
              </a:rPr>
              <a:t>Using authorization object instead of where condition</a:t>
            </a:r>
            <a:br>
              <a:rPr lang="en-US" altLang="zh-TW" sz="3200" b="1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zh-TW" sz="32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字版面配置區 14">
            <a:extLst>
              <a:ext uri="{FF2B5EF4-FFF2-40B4-BE49-F238E27FC236}">
                <a16:creationId xmlns:a16="http://schemas.microsoft.com/office/drawing/2014/main" id="{9DAE81E6-6602-2C66-C95E-9CB7127993E5}"/>
              </a:ext>
            </a:extLst>
          </p:cNvPr>
          <p:cNvSpPr txBox="1">
            <a:spLocks/>
          </p:cNvSpPr>
          <p:nvPr/>
        </p:nvSpPr>
        <p:spPr>
          <a:xfrm>
            <a:off x="381000" y="1876014"/>
            <a:ext cx="11222736" cy="23711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rgbClr val="001141"/>
              </a:buClr>
              <a:buSzPct val="90000"/>
              <a:buFont typeface="IBM Plex Sans Light" pitchFamily="2" charset="2"/>
              <a:buNone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marL="152394" indent="-152394" algn="l" rtl="0" eaLnBrk="1" fontAlgn="base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2pPr>
            <a:lvl3pPr marL="304788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panose="020B0604020202020204" pitchFamily="34" charset="0"/>
              <a:buChar char="•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3pPr>
            <a:lvl4pPr marL="457182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SzPct val="100000"/>
              <a:buFont typeface="IBM Plex Sans Light" charset="-120"/>
              <a:buChar char="–"/>
              <a:tabLst/>
              <a:defRPr sz="1500" b="0" i="0" baseline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4pPr>
            <a:lvl5pPr marL="609576" indent="-152394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1141"/>
              </a:buClr>
              <a:buFont typeface="IBM Plex Sans Light" charset="-120"/>
              <a:buChar char="»"/>
              <a:tabLst/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5pPr>
            <a:lvl6pPr marL="211154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6pPr>
            <a:lvl7pPr marL="2594951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7pPr>
            <a:lvl8pPr marL="3078357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8pPr>
            <a:lvl9pPr marL="3561764" indent="-1728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92">
                <a:solidFill>
                  <a:schemeClr val="bg1"/>
                </a:solidFill>
                <a:latin typeface="IBM Plex Sans Light" charset="0"/>
              </a:defRPr>
            </a:lvl9pPr>
          </a:lstStyle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 auth object</a:t>
            </a: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Create role through PFCG and assign this authorization object</a:t>
            </a: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Assign role to user</a:t>
            </a:r>
          </a:p>
          <a:p>
            <a:pPr marL="342900" indent="-342900" defTabSz="914400">
              <a:buFont typeface="Wingdings" panose="05000000000000000000" pitchFamily="2" charset="2"/>
              <a:buChar char="l"/>
            </a:pPr>
            <a:r>
              <a:rPr lang="en-US" altLang="zh-TW" sz="2400" b="1" kern="0" dirty="0">
                <a:latin typeface="Arial" panose="020B0604020202020204" pitchFamily="34" charset="0"/>
                <a:cs typeface="Arial" panose="020B0604020202020204" pitchFamily="34" charset="0"/>
              </a:rPr>
              <a:t>Modify Access Control</a:t>
            </a:r>
          </a:p>
        </p:txBody>
      </p:sp>
      <p:pic>
        <p:nvPicPr>
          <p:cNvPr id="12" name="圖片 11">
            <a:extLst>
              <a:ext uri="{FF2B5EF4-FFF2-40B4-BE49-F238E27FC236}">
                <a16:creationId xmlns:a16="http://schemas.microsoft.com/office/drawing/2014/main" id="{72E10AAA-CEEA-EACA-00A9-F4E22C60E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4521" y="3429000"/>
            <a:ext cx="7169215" cy="262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1092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1192E8"/>
        </a:solidFill>
        <a:ln w="19050">
          <a:noFill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Bef>
            <a:spcPts val="1800"/>
          </a:spcBef>
          <a:defRPr sz="18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2.xml><?xml version="1.0" encoding="utf-8"?>
<a:theme xmlns:a="http://schemas.openxmlformats.org/drawingml/2006/main" name="1_Covers and end slides (no footers)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1192E8"/>
        </a:solidFill>
        <a:ln w="19050">
          <a:noFill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spcBef>
            <a:spcPts val="1800"/>
          </a:spcBef>
          <a:defRPr sz="18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文件" ma:contentTypeID="0x01010049015EF52A31F54699B5C48EC816F56B" ma:contentTypeVersion="14" ma:contentTypeDescription="建立新的文件。" ma:contentTypeScope="" ma:versionID="1291a8e9182cd4d39d5100baf70791d8">
  <xsd:schema xmlns:xsd="http://www.w3.org/2001/XMLSchema" xmlns:xs="http://www.w3.org/2001/XMLSchema" xmlns:p="http://schemas.microsoft.com/office/2006/metadata/properties" xmlns:ns2="b978cdf2-aad7-4b10-b3b5-2ad275826d57" xmlns:ns3="c23bd45d-4585-4771-8f76-de1725ea2ca6" targetNamespace="http://schemas.microsoft.com/office/2006/metadata/properties" ma:root="true" ma:fieldsID="f83210d1c161f7654d5ae9c867d38603" ns2:_="" ns3:_="">
    <xsd:import namespace="b978cdf2-aad7-4b10-b3b5-2ad275826d57"/>
    <xsd:import namespace="c23bd45d-4585-4771-8f76-de1725ea2c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78cdf2-aad7-4b10-b3b5-2ad275826d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影像標籤" ma:readOnly="false" ma:fieldId="{5cf76f15-5ced-4ddc-b409-7134ff3c332f}" ma:taxonomyMulti="true" ma:sspId="0976e0b1-4055-4d4c-95fd-22a18192cb6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3bd45d-4585-4771-8f76-de1725ea2ca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用對象: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用詳細資料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859dc962-3cef-44df-9e08-50746bccc312}" ma:internalName="TaxCatchAll" ma:showField="CatchAllData" ma:web="c23bd45d-4585-4771-8f76-de1725ea2c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內容類型"/>
        <xsd:element ref="dc:title" minOccurs="0" maxOccurs="1" ma:index="4" ma:displayName="標題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78cdf2-aad7-4b10-b3b5-2ad275826d57">
      <Terms xmlns="http://schemas.microsoft.com/office/infopath/2007/PartnerControls"/>
    </lcf76f155ced4ddcb4097134ff3c332f>
    <TaxCatchAll xmlns="c23bd45d-4585-4771-8f76-de1725ea2ca6" xsi:nil="true"/>
  </documentManagement>
</p:properties>
</file>

<file path=customXml/itemProps1.xml><?xml version="1.0" encoding="utf-8"?>
<ds:datastoreItem xmlns:ds="http://schemas.openxmlformats.org/officeDocument/2006/customXml" ds:itemID="{4EB033A5-8BE4-4B15-AA29-3F6F44CD25FE}"/>
</file>

<file path=customXml/itemProps2.xml><?xml version="1.0" encoding="utf-8"?>
<ds:datastoreItem xmlns:ds="http://schemas.openxmlformats.org/officeDocument/2006/customXml" ds:itemID="{BC40C2AF-A4CD-4CA0-A503-485BB44F0EE5}"/>
</file>

<file path=customXml/itemProps3.xml><?xml version="1.0" encoding="utf-8"?>
<ds:datastoreItem xmlns:ds="http://schemas.openxmlformats.org/officeDocument/2006/customXml" ds:itemID="{0691D1C8-75BC-4D82-BBFF-E73109C190A6}"/>
</file>

<file path=docProps/app.xml><?xml version="1.0" encoding="utf-8"?>
<Properties xmlns="http://schemas.openxmlformats.org/officeDocument/2006/extended-properties" xmlns:vt="http://schemas.openxmlformats.org/officeDocument/2006/docPropsVTypes">
  <Template>2022 IBM Consulting Strategy and Capabilities_DECK(1)</Template>
  <TotalTime>9390</TotalTime>
  <Words>4263</Words>
  <Application>Microsoft Office PowerPoint</Application>
  <PresentationFormat>寬螢幕</PresentationFormat>
  <Paragraphs>806</Paragraphs>
  <Slides>115</Slides>
  <Notes>110</Notes>
  <HiddenSlides>0</HiddenSlides>
  <MMClips>0</MMClips>
  <ScaleCrop>false</ScaleCrop>
  <HeadingPairs>
    <vt:vector size="8" baseType="variant">
      <vt:variant>
        <vt:lpstr>使用字型</vt:lpstr>
      </vt:variant>
      <vt:variant>
        <vt:i4>13</vt:i4>
      </vt:variant>
      <vt:variant>
        <vt:lpstr>佈景主題</vt:lpstr>
      </vt:variant>
      <vt:variant>
        <vt:i4>2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15</vt:i4>
      </vt:variant>
    </vt:vector>
  </HeadingPairs>
  <TitlesOfParts>
    <vt:vector size="131" baseType="lpstr">
      <vt:lpstr>Arial Regular</vt:lpstr>
      <vt:lpstr>Microsoft JhengHei Light</vt:lpstr>
      <vt:lpstr>System Font Regular</vt:lpstr>
      <vt:lpstr>微軟正黑體</vt:lpstr>
      <vt:lpstr>微軟正黑體</vt:lpstr>
      <vt:lpstr>Arial</vt:lpstr>
      <vt:lpstr>Calibri</vt:lpstr>
      <vt:lpstr>IBM Plex Sans</vt:lpstr>
      <vt:lpstr>IBM Plex Sans ExtraLight</vt:lpstr>
      <vt:lpstr>IBM Plex Sans Light</vt:lpstr>
      <vt:lpstr>IBM Plex Sans Medium</vt:lpstr>
      <vt:lpstr>Lato</vt:lpstr>
      <vt:lpstr>Wingdings</vt:lpstr>
      <vt:lpstr>IBM Brand Template 2022</vt:lpstr>
      <vt:lpstr>1_Covers and end slides (no footers)</vt:lpstr>
      <vt:lpstr>think-cell Slide</vt:lpstr>
      <vt:lpstr>SAP CDS view   Patrick Wu  Package Consultant-SAP HANA SCM PP</vt:lpstr>
      <vt:lpstr>PowerPoint 簡報</vt:lpstr>
      <vt:lpstr>PowerPoint 簡報</vt:lpstr>
      <vt:lpstr>What is SAP CDS?</vt:lpstr>
      <vt:lpstr>About Core Data Service</vt:lpstr>
      <vt:lpstr>What is SAP CDS Views?</vt:lpstr>
      <vt:lpstr>Data Models</vt:lpstr>
      <vt:lpstr>Components of a Data Model</vt:lpstr>
      <vt:lpstr>Why Data Models Matter in App Development</vt:lpstr>
      <vt:lpstr>Virtual Data Models (VDM）</vt:lpstr>
      <vt:lpstr>How Does a Virtual Data Model Work</vt:lpstr>
      <vt:lpstr>Advantages of a Virtual Data Model</vt:lpstr>
      <vt:lpstr>Example: CDS view from heterogeneous sources</vt:lpstr>
      <vt:lpstr>Types of CDS Views</vt:lpstr>
      <vt:lpstr>Advantages of CDS Views</vt:lpstr>
      <vt:lpstr>CDS Views – Platform for Practice</vt:lpstr>
      <vt:lpstr>PowerPoint 簡報</vt:lpstr>
      <vt:lpstr>CDS Views – Creating via Eclipse(1/5)</vt:lpstr>
      <vt:lpstr>CDS Views – Creating via Eclipse(2/5)</vt:lpstr>
      <vt:lpstr>CDS Views – Creating via Eclipse(3/5)</vt:lpstr>
      <vt:lpstr>CDS Views – Creating via Eclipse(4/5)</vt:lpstr>
      <vt:lpstr>CDS Views – Creating via Eclipse(5/5)</vt:lpstr>
      <vt:lpstr>CDS Views -- Join</vt:lpstr>
      <vt:lpstr>CDS Views -- Association</vt:lpstr>
      <vt:lpstr>Path expressions– access cds view in ABAP </vt:lpstr>
      <vt:lpstr>Associations — Lazy Join / On demand </vt:lpstr>
      <vt:lpstr>Path expressions </vt:lpstr>
      <vt:lpstr>CDS view compared to ECC views(1/3) </vt:lpstr>
      <vt:lpstr>CDS view compared to ECC views(2/3)  </vt:lpstr>
      <vt:lpstr>CDS view compared to ECC views(3/3)  </vt:lpstr>
      <vt:lpstr>PowerPoint 簡報</vt:lpstr>
      <vt:lpstr>Basic idea about Cardinality in CDS association </vt:lpstr>
      <vt:lpstr>Cardinality </vt:lpstr>
      <vt:lpstr>Cardinality – one to one vs one to many </vt:lpstr>
      <vt:lpstr>Cardinality – Business scenario(1/7) </vt:lpstr>
      <vt:lpstr>Cardinality – Business scenario(2/7) </vt:lpstr>
      <vt:lpstr>Cardinality – Business scenario(3/7) </vt:lpstr>
      <vt:lpstr>Cardinality – Business scenario(4/7) </vt:lpstr>
      <vt:lpstr>Cardinality – Business scenario(5/7) </vt:lpstr>
      <vt:lpstr>Cardinality – Business scenario(6/7) </vt:lpstr>
      <vt:lpstr>Cardinality – Business scenario(7/7) </vt:lpstr>
      <vt:lpstr>CDS View -- $projection(1/6) </vt:lpstr>
      <vt:lpstr>CDS View -- $projection(2/6) </vt:lpstr>
      <vt:lpstr>CDS View -- $projection(3/6) </vt:lpstr>
      <vt:lpstr>CDS View -- $projection(4/6) </vt:lpstr>
      <vt:lpstr>CDS View -- $projection(5/6) </vt:lpstr>
      <vt:lpstr>CDS View -- $projection(6/6) </vt:lpstr>
      <vt:lpstr>PowerPoint 簡報</vt:lpstr>
      <vt:lpstr>CDS view – Table function </vt:lpstr>
      <vt:lpstr>Table function Design </vt:lpstr>
      <vt:lpstr>Table function Technical Design </vt:lpstr>
      <vt:lpstr>Create table function </vt:lpstr>
      <vt:lpstr>define class and methods for table function  </vt:lpstr>
      <vt:lpstr>Consume table function in CDS view(1/2) </vt:lpstr>
      <vt:lpstr>Consume table function in CDS view(2/2) </vt:lpstr>
      <vt:lpstr>Table function concept /methodology </vt:lpstr>
      <vt:lpstr>Table function-- Local variable declaration </vt:lpstr>
      <vt:lpstr>CDS View with sorting process </vt:lpstr>
      <vt:lpstr>CDS View sorting via table function </vt:lpstr>
      <vt:lpstr>CDS View sorting via MAX function </vt:lpstr>
      <vt:lpstr>PowerPoint 簡報</vt:lpstr>
      <vt:lpstr>Virtual Data Model(VDM)</vt:lpstr>
      <vt:lpstr>VDM Consumption views</vt:lpstr>
      <vt:lpstr>Benefits of VDM </vt:lpstr>
      <vt:lpstr>About VDM (Virtual Data Model) Functionality </vt:lpstr>
      <vt:lpstr>VDM View Types </vt:lpstr>
      <vt:lpstr>Hierarchy of VDM types</vt:lpstr>
      <vt:lpstr>CDS Association, Composition and Projection</vt:lpstr>
      <vt:lpstr>CDS View Data Category </vt:lpstr>
      <vt:lpstr>Data Category Types </vt:lpstr>
      <vt:lpstr>Complete CDS view: (VDM + Data Category)</vt:lpstr>
      <vt:lpstr>Data Category : Dimension</vt:lpstr>
      <vt:lpstr>Data Category : Fact</vt:lpstr>
      <vt:lpstr>Data Category : Cube</vt:lpstr>
      <vt:lpstr>VDM Type: Consumption</vt:lpstr>
      <vt:lpstr>PowerPoint 簡報</vt:lpstr>
      <vt:lpstr>Annotation</vt:lpstr>
      <vt:lpstr>Annotation -- Classifications</vt:lpstr>
      <vt:lpstr>Annotation–Position of the annotations located</vt:lpstr>
      <vt:lpstr>ABAP Annotation</vt:lpstr>
      <vt:lpstr>Other Framework specific Annotations</vt:lpstr>
      <vt:lpstr>Example of ABAP Annotations</vt:lpstr>
      <vt:lpstr>Analytics Annotations</vt:lpstr>
      <vt:lpstr>Analytics Annotations</vt:lpstr>
      <vt:lpstr>Annotations dependency</vt:lpstr>
      <vt:lpstr>Example of Annotations dependency</vt:lpstr>
      <vt:lpstr>Evaluating Annotations in Query Monitor(RSRT)</vt:lpstr>
      <vt:lpstr>Evaluating Annotations in Query Monitor(1/4)</vt:lpstr>
      <vt:lpstr>Evaluating Annotations in Query Monitor(2/4)</vt:lpstr>
      <vt:lpstr>Evaluating Annotations in Query Monitor(3/4)</vt:lpstr>
      <vt:lpstr>Evaluating Annotations in 報表監視器(4/4)</vt:lpstr>
      <vt:lpstr>Data Control Language(DCL)</vt:lpstr>
      <vt:lpstr>Authorization Annotation</vt:lpstr>
      <vt:lpstr>Authorization Annotation(1/9)</vt:lpstr>
      <vt:lpstr>Authorization Annotation(2/9)</vt:lpstr>
      <vt:lpstr>Authorization Annotation(3/9)</vt:lpstr>
      <vt:lpstr>Authorization Annotation(4/9)</vt:lpstr>
      <vt:lpstr>Authorization Annotation(5/9)</vt:lpstr>
      <vt:lpstr>Authorization Annotation(6/9) -- Using authorization object instead of where condition </vt:lpstr>
      <vt:lpstr>Authorization Annotation(7/9)</vt:lpstr>
      <vt:lpstr>Authorization Annotation(8/9)</vt:lpstr>
      <vt:lpstr>Authorization Annotation(9/9)</vt:lpstr>
      <vt:lpstr>Virtual Element (1/3)</vt:lpstr>
      <vt:lpstr>Virtual Element (2/3)</vt:lpstr>
      <vt:lpstr>Virtual Element (3/3)</vt:lpstr>
      <vt:lpstr>Example of Virtual Element(1/4) </vt:lpstr>
      <vt:lpstr>Example of Virtual Element(2/4) </vt:lpstr>
      <vt:lpstr>Example of Virtual Element(3/4) </vt:lpstr>
      <vt:lpstr>Example of Virtual Element(4/4) </vt:lpstr>
      <vt:lpstr>Extend CDS View </vt:lpstr>
      <vt:lpstr>CDS View - Date Functionalities</vt:lpstr>
      <vt:lpstr>CDS View - Date Functions</vt:lpstr>
      <vt:lpstr>CDS View - Unit and Currency Conversion</vt:lpstr>
      <vt:lpstr>Example of Unit and Currency Convers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trick wu</dc:creator>
  <cp:lastModifiedBy>patrick wu</cp:lastModifiedBy>
  <cp:revision>456</cp:revision>
  <dcterms:created xsi:type="dcterms:W3CDTF">2024-08-03T05:13:28Z</dcterms:created>
  <dcterms:modified xsi:type="dcterms:W3CDTF">2024-10-13T07:5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015EF52A31F54699B5C48EC816F56B</vt:lpwstr>
  </property>
</Properties>
</file>